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theme/theme7.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09" r:id="rId3"/>
    <p:sldMasterId id="2147483738" r:id="rId4"/>
    <p:sldMasterId id="2147483819" r:id="rId5"/>
    <p:sldMasterId id="2147483845" r:id="rId6"/>
    <p:sldMasterId id="2147483857" r:id="rId7"/>
    <p:sldMasterId id="2147483859" r:id="rId8"/>
  </p:sldMasterIdLst>
  <p:notesMasterIdLst>
    <p:notesMasterId r:id="rId39"/>
  </p:notesMasterIdLst>
  <p:sldIdLst>
    <p:sldId id="256" r:id="rId9"/>
    <p:sldId id="2147481793" r:id="rId10"/>
    <p:sldId id="2147481795" r:id="rId11"/>
    <p:sldId id="2147481794" r:id="rId12"/>
    <p:sldId id="2123258856" r:id="rId13"/>
    <p:sldId id="2147477284" r:id="rId14"/>
    <p:sldId id="257" r:id="rId15"/>
    <p:sldId id="268" r:id="rId16"/>
    <p:sldId id="2147481778" r:id="rId17"/>
    <p:sldId id="2147481779" r:id="rId18"/>
    <p:sldId id="2147481783" r:id="rId19"/>
    <p:sldId id="259" r:id="rId20"/>
    <p:sldId id="2147481792" r:id="rId21"/>
    <p:sldId id="2147481785" r:id="rId22"/>
    <p:sldId id="2147481789" r:id="rId23"/>
    <p:sldId id="2147481784" r:id="rId24"/>
    <p:sldId id="2147481791" r:id="rId25"/>
    <p:sldId id="2147481788" r:id="rId26"/>
    <p:sldId id="2147481780" r:id="rId27"/>
    <p:sldId id="2147481781" r:id="rId28"/>
    <p:sldId id="2147481786" r:id="rId29"/>
    <p:sldId id="2147481790" r:id="rId30"/>
    <p:sldId id="2147481782" r:id="rId31"/>
    <p:sldId id="2147481787" r:id="rId32"/>
    <p:sldId id="2147481257" r:id="rId33"/>
    <p:sldId id="2147481776" r:id="rId34"/>
    <p:sldId id="2147477230" r:id="rId35"/>
    <p:sldId id="2147481775" r:id="rId36"/>
    <p:sldId id="2142532699" r:id="rId37"/>
    <p:sldId id="2147480157"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B956B5-57D3-4BF1-B221-0A719EF054B3}">
          <p14:sldIdLst>
            <p14:sldId id="256"/>
            <p14:sldId id="2147481793"/>
            <p14:sldId id="2147481795"/>
            <p14:sldId id="2147481794"/>
            <p14:sldId id="2123258856"/>
            <p14:sldId id="2147477284"/>
            <p14:sldId id="257"/>
            <p14:sldId id="268"/>
          </p14:sldIdLst>
        </p14:section>
        <p14:section name="Azure Speech Service" id="{DC34270E-D4E3-4305-A1F0-81455F3C54F4}">
          <p14:sldIdLst>
            <p14:sldId id="2147481778"/>
            <p14:sldId id="2147481779"/>
            <p14:sldId id="2147481783"/>
          </p14:sldIdLst>
        </p14:section>
        <p14:section name="Azure OpenAI Services" id="{78E50631-568C-4EA0-A88E-490AC95EC94F}">
          <p14:sldIdLst>
            <p14:sldId id="259"/>
            <p14:sldId id="2147481792"/>
            <p14:sldId id="2147481785"/>
          </p14:sldIdLst>
        </p14:section>
        <p14:section name="Azure Translator" id="{11E25227-A9A7-4AD2-9949-BA33151E02E5}">
          <p14:sldIdLst>
            <p14:sldId id="2147481789"/>
            <p14:sldId id="2147481784"/>
          </p14:sldIdLst>
        </p14:section>
        <p14:section name="Azure Computer Vision Service" id="{32A3FED9-8693-4F0E-83CB-F661247DD80A}">
          <p14:sldIdLst>
            <p14:sldId id="2147481791"/>
            <p14:sldId id="2147481788"/>
            <p14:sldId id="2147481780"/>
            <p14:sldId id="2147481781"/>
            <p14:sldId id="2147481786"/>
          </p14:sldIdLst>
        </p14:section>
        <p14:section name="Custom Vision - Car Plate" id="{91F266FB-154B-43C0-831D-1578D5275EE9}">
          <p14:sldIdLst>
            <p14:sldId id="2147481790"/>
            <p14:sldId id="2147481782"/>
            <p14:sldId id="2147481787"/>
          </p14:sldIdLst>
        </p14:section>
        <p14:section name="Overview" id="{726058DC-D87C-4F21-B8A8-9B7E921AE941}">
          <p14:sldIdLst>
            <p14:sldId id="2147481257"/>
            <p14:sldId id="2147481776"/>
            <p14:sldId id="2147477230"/>
            <p14:sldId id="2147481775"/>
          </p14:sldIdLst>
        </p14:section>
        <p14:section name="Responsible AI" id="{C8D93A8C-DAB5-4C0E-9B47-DA93A27E5748}">
          <p14:sldIdLst>
            <p14:sldId id="2142532699"/>
            <p14:sldId id="21474801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258" autoAdjust="0"/>
  </p:normalViewPr>
  <p:slideViewPr>
    <p:cSldViewPr snapToGrid="0">
      <p:cViewPr varScale="1">
        <p:scale>
          <a:sx n="107" d="100"/>
          <a:sy n="107" d="100"/>
        </p:scale>
        <p:origin x="52" y="3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C9B8B-1353-4BE1-AA53-2BCF64DE05BA}" type="datetimeFigureOut">
              <a:rPr lang="en-IE" smtClean="0"/>
              <a:t>29/04/2024</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B64E00-2754-4FA4-B761-9EBD03993AA1}" type="slidenum">
              <a:rPr lang="en-IE" smtClean="0"/>
              <a:t>‹#›</a:t>
            </a:fld>
            <a:endParaRPr lang="en-IE"/>
          </a:p>
        </p:txBody>
      </p:sp>
    </p:spTree>
    <p:extLst>
      <p:ext uri="{BB962C8B-B14F-4D97-AF65-F5344CB8AC3E}">
        <p14:creationId xmlns:p14="http://schemas.microsoft.com/office/powerpoint/2010/main" val="3663912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a:solidFill>
                <a:schemeClr val="tx1"/>
              </a:solidFill>
              <a:effectLst/>
              <a:latin typeface="+mn-lt"/>
              <a:ea typeface="+mn-ea"/>
              <a:cs typeface="+mn-cs"/>
            </a:endParaRPr>
          </a:p>
          <a:p>
            <a:r>
              <a:rPr lang="en-US" sz="1200" kern="1200">
                <a:solidFill>
                  <a:schemeClr val="tx1"/>
                </a:solidFill>
                <a:effectLst/>
                <a:latin typeface="+mn-lt"/>
                <a:ea typeface="+mn-ea"/>
                <a:cs typeface="+mn-cs"/>
              </a:rPr>
              <a:t>With Azure Machine Learning, we provide developers data scientists and developers to build, train and deploy models.</a:t>
            </a:r>
            <a:r>
              <a:rPr lang="en-US" sz="1200">
                <a:latin typeface="+mn-lt"/>
              </a:rPr>
              <a:t> </a:t>
            </a:r>
          </a:p>
          <a:p>
            <a:pPr lvl="0"/>
            <a:r>
              <a:rPr lang="en-US" sz="1200" kern="120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endParaRPr lang="en-US" sz="1200" kern="1200">
              <a:solidFill>
                <a:schemeClr val="tx1"/>
              </a:solidFill>
              <a:effectLst/>
              <a:latin typeface="+mn-lt"/>
              <a:cs typeface="Calibri"/>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a:t>
            </a:r>
            <a:r>
              <a:rPr lang="en-US" sz="1200">
                <a:latin typeface="+mn-lt"/>
              </a:rPr>
              <a:t> </a:t>
            </a:r>
            <a:endParaRPr lang="en-US" sz="1200" kern="1200">
              <a:solidFill>
                <a:schemeClr val="tx1"/>
              </a:solidFill>
              <a:effectLst/>
              <a:latin typeface="+mn-lt"/>
              <a:cs typeface="Calibri"/>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Finally, AML is built on an open source foundation. </a:t>
            </a:r>
            <a:r>
              <a:rPr lang="en-US" sz="1200" kern="1200">
                <a:solidFill>
                  <a:schemeClr val="tx1"/>
                </a:solidFill>
                <a:effectLst/>
                <a:latin typeface="Segoe UI"/>
                <a:cs typeface="Segoe UI"/>
              </a:rPr>
              <a:t>Developers can choose the Python tool and process of their choice and even get started on their laptops. They have the freedom to use </a:t>
            </a:r>
            <a:r>
              <a:rPr lang="en-US" sz="1200" kern="1200" err="1">
                <a:solidFill>
                  <a:schemeClr val="tx1"/>
                </a:solidFill>
                <a:effectLst/>
                <a:latin typeface="Segoe UI"/>
                <a:cs typeface="Segoe UI"/>
              </a:rPr>
              <a:t>Mlflow</a:t>
            </a:r>
            <a:r>
              <a:rPr lang="en-US" sz="1200" kern="1200">
                <a:solidFill>
                  <a:schemeClr val="tx1"/>
                </a:solidFill>
                <a:effectLst/>
                <a:latin typeface="Segoe UI"/>
                <a:cs typeface="Segoe UI"/>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a:solidFill>
                  <a:schemeClr val="tx1"/>
                </a:solidFill>
                <a:effectLst/>
                <a:latin typeface="+mn-lt"/>
                <a:ea typeface="+mn-ea"/>
                <a:cs typeface="+mn-cs"/>
              </a:rPr>
              <a:t>Customizable Vision, Speech, Language &amp; Decision Models:</a:t>
            </a:r>
            <a:endParaRPr lang="en-US" sz="1200" kern="1200">
              <a:solidFill>
                <a:schemeClr val="tx1"/>
              </a:solidFill>
              <a:effectLst/>
              <a:latin typeface="Segoe UI" panose="020B0502040204020203" pitchFamily="34" charset="0"/>
              <a:ea typeface="+mn-ea"/>
              <a:cs typeface="+mn-cs"/>
            </a:endParaRPr>
          </a:p>
          <a:p>
            <a:r>
              <a:rPr lang="en-US" sz="1200" kern="1200">
                <a:solidFill>
                  <a:schemeClr val="tx1"/>
                </a:solidFill>
                <a:effectLst/>
                <a:latin typeface="Segoe UI"/>
                <a:cs typeface="Segoe UI"/>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a:t>
            </a:r>
            <a:r>
              <a:rPr lang="en-US" sz="1200">
                <a:latin typeface="Segoe UI"/>
                <a:cs typeface="Segoe UI"/>
              </a:rPr>
              <a:t> </a:t>
            </a:r>
            <a:endParaRPr lang="en-US" sz="1200" kern="1200">
              <a:solidFill>
                <a:schemeClr val="tx1"/>
              </a:solidFill>
              <a:effectLst/>
              <a:latin typeface="Segoe UI" panose="020B0502040204020203" pitchFamily="34" charset="0"/>
              <a:cs typeface="Segoe UI"/>
            </a:endParaRP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a:solidFill>
                  <a:schemeClr val="tx1"/>
                </a:solidFill>
                <a:effectLst/>
                <a:latin typeface="Segoe UI"/>
                <a:cs typeface="Segoe UI"/>
              </a:rPr>
              <a:t>Scenario Specific Services</a:t>
            </a:r>
          </a:p>
          <a:p>
            <a:pPr marL="0" lvl="0" indent="0">
              <a:buFont typeface="Arial" panose="020B0604020202020204" pitchFamily="34" charset="0"/>
              <a:buNone/>
            </a:pPr>
            <a:r>
              <a:rPr lang="en-US" sz="1200" kern="1200">
                <a:solidFill>
                  <a:schemeClr val="tx1"/>
                </a:solidFill>
                <a:effectLst/>
                <a:latin typeface="Segoe UI"/>
                <a:cs typeface="Segoe UI"/>
              </a:rPr>
              <a:t>Finally, we offer AI applications specific services for professional developers.</a:t>
            </a: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171450" indent="-171450" defTabSz="914400">
              <a:lnSpc>
                <a:spcPct val="100000"/>
              </a:lnSpc>
              <a:spcAft>
                <a:spcPts val="0"/>
              </a:spcAft>
              <a:buFont typeface="Arial" panose="020B0604020202020204" pitchFamily="34" charset="0"/>
              <a:buChar char="•"/>
              <a:defRPr/>
            </a:pPr>
            <a:r>
              <a:rPr lang="en-US" sz="1200" kern="1200">
                <a:solidFill>
                  <a:prstClr val="white"/>
                </a:solidFill>
                <a:effectLst/>
                <a:latin typeface="Segoe UI"/>
                <a:ea typeface="+mn-ea"/>
                <a:cs typeface="+mn-cs"/>
              </a:rPr>
              <a:t>Azure Bot Service is built on Azure Bot Framework, the most popular open source based bot framework.</a:t>
            </a:r>
            <a:r>
              <a:rPr lang="en-US" sz="1200">
                <a:solidFill>
                  <a:prstClr val="white"/>
                </a:solidFill>
                <a:latin typeface="Segoe UI"/>
              </a:rPr>
              <a:t> </a:t>
            </a:r>
            <a:endParaRPr lang="en-US" sz="1200">
              <a:solidFill>
                <a:prstClr val="white"/>
              </a:solidFill>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Segoe UI"/>
                <a:cs typeface="Segoe UI"/>
              </a:rPr>
              <a:t>This includes Azure Search is the only </a:t>
            </a:r>
            <a:r>
              <a:rPr lang="en-US" sz="1200">
                <a:solidFill>
                  <a:prstClr val="white"/>
                </a:solidFill>
                <a:latin typeface="Segoe UI"/>
              </a:rPr>
              <a:t>cloud app search service with built-in AI capabilities. This facilitates the creation of knowledge mining apps.</a:t>
            </a:r>
            <a:endParaRPr lang="en-US" sz="1200">
              <a:solidFill>
                <a:prstClr val="white"/>
              </a:solidFill>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endParaRPr lang="en-US" sz="1200">
              <a:solidFill>
                <a:prstClr val="white"/>
              </a:solidFill>
              <a:latin typeface="Segoe UI"/>
              <a:cs typeface="Segoe UI"/>
            </a:endParaRPr>
          </a:p>
          <a:p>
            <a:pPr marL="171450" indent="-171450" defTabSz="914400">
              <a:lnSpc>
                <a:spcPct val="100000"/>
              </a:lnSpc>
              <a:spcAft>
                <a:spcPts val="0"/>
              </a:spcAft>
              <a:buFont typeface="Arial" panose="020B0604020202020204" pitchFamily="34" charset="0"/>
              <a:buChar char="•"/>
              <a:defRPr/>
            </a:pPr>
            <a:r>
              <a:rPr lang="en-US" sz="1200">
                <a:solidFill>
                  <a:prstClr val="white"/>
                </a:solidFill>
                <a:latin typeface="Segoe UI"/>
              </a:rPr>
              <a:t>Finally, we have Video Indexer. Video Indexer that is used to extract in-depth metadata from video and audio content. </a:t>
            </a:r>
            <a:endParaRPr lang="en-US" sz="1200">
              <a:solidFill>
                <a:prstClr val="white"/>
              </a:solidFill>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a:solidFill>
                  <a:schemeClr val="tx1"/>
                </a:solidFill>
                <a:effectLst/>
                <a:latin typeface="+mn-lt"/>
                <a:ea typeface="+mn-ea"/>
                <a:cs typeface="+mn-cs"/>
              </a:rPr>
              <a:t>through low-code, point-and-click experiences.</a:t>
            </a:r>
            <a:endParaRPr lang="en-US" sz="1200" kern="120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prstClr val="white"/>
              </a:solidFill>
              <a:effectLst/>
              <a:latin typeface="Segoe UI"/>
              <a:ea typeface="+mn-ea"/>
              <a:cs typeface="+mn-cs"/>
            </a:endParaRPr>
          </a:p>
          <a:p>
            <a:r>
              <a:rPr lang="en-US" sz="1200" b="0" i="0" u="none" strike="noStrike" kern="1200">
                <a:solidFill>
                  <a:schemeClr val="tx1"/>
                </a:solidFill>
                <a:effectLst/>
                <a:latin typeface="+mn-lt"/>
                <a:ea typeface="+mn-ea"/>
                <a:cs typeface="+mn-cs"/>
              </a:rPr>
              <a:t>Azure AI powers AI Builder, which serves AI capabilities to the rest of Power Platform. Citizen Developers can use Power Platform to:</a:t>
            </a:r>
            <a:endParaRPr lang="en-US" sz="1200" b="0" i="0" u="none" strike="noStrike" kern="1200">
              <a:solidFill>
                <a:schemeClr val="tx1"/>
              </a:solidFill>
              <a:effectLst/>
              <a:latin typeface="+mn-lt"/>
              <a:cs typeface="Calibri"/>
            </a:endParaRPr>
          </a:p>
          <a:p>
            <a:pPr marL="0" indent="0">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utomate tedious tasks such as invoice processing with Microsoft Automate.</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Extract key phrases in documents, detect sentiment in content such as customer reviews, and build custom machine learning models in Power BI.</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Build virtual agents in a no-code fashion.</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Power Platform and Azure work well together. This enables companies to empower everyone in their organizations collaborate and build AI applications.</a:t>
            </a:r>
            <a:r>
              <a:rPr lang="en-US" sz="1200">
                <a:latin typeface="+mn-lt"/>
              </a:rPr>
              <a:t> </a:t>
            </a:r>
            <a:endParaRPr lang="en-US" sz="1200" b="0" i="0" u="none" strike="noStrike" kern="1200">
              <a:solidFill>
                <a:schemeClr val="tx1"/>
              </a:solidFill>
              <a:effectLst/>
              <a:latin typeface="+mn-lt"/>
              <a:cs typeface="Calibri"/>
            </a:endParaRPr>
          </a:p>
          <a:p>
            <a:pPr marL="0" lvl="0" indent="0">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0" lvl="0" indent="0">
              <a:buFont typeface="Arial" panose="020B0604020202020204" pitchFamily="34" charset="0"/>
              <a:buNone/>
            </a:pPr>
            <a:r>
              <a:rPr lang="en-US" sz="1200" kern="1200">
                <a:solidFill>
                  <a:schemeClr val="tx1"/>
                </a:solidFill>
                <a:effectLst/>
                <a:latin typeface="+mn-lt"/>
                <a:ea typeface="+mn-ea"/>
                <a:cs typeface="+mn-cs"/>
              </a:rPr>
              <a:t>Only Microsoft provides such a comprehensive set of capabilities for professional and citizen developer to harness the potential of AI</a:t>
            </a:r>
            <a:endParaRPr lang="en-US" sz="1200" kern="1200">
              <a:solidFill>
                <a:schemeClr val="tx1"/>
              </a:solidFill>
              <a:effectLst/>
              <a:latin typeface="+mn-lt"/>
              <a:cs typeface="Calibri"/>
            </a:endParaRP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lvl="0"/>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1P: M365, D365, Power Platform, LinkedIn, Bing</a:t>
            </a:r>
            <a:endParaRPr lang="en-US" sz="1200" kern="1200">
              <a:solidFill>
                <a:schemeClr val="tx1"/>
              </a:solidFill>
              <a:effectLst/>
              <a:latin typeface="+mn-lt"/>
              <a:cs typeface="Calibri"/>
            </a:endParaRPr>
          </a:p>
          <a:p>
            <a:r>
              <a:rPr lang="en-US" sz="1200" b="0" i="0" u="none" strike="noStrike" kern="1200">
                <a:solidFill>
                  <a:schemeClr val="tx1"/>
                </a:solidFill>
                <a:effectLst/>
                <a:latin typeface="+mn-lt"/>
                <a:ea typeface="+mn-ea"/>
                <a:cs typeface="+mn-cs"/>
              </a:rPr>
              <a:t>3P: ISV, SI, customer implementation</a:t>
            </a:r>
            <a:endParaRPr lang="en-US" sz="1200" b="0" i="0" u="none" strike="noStrike" kern="1200">
              <a:solidFill>
                <a:schemeClr val="tx1"/>
              </a:solidFill>
              <a:effectLst/>
              <a:latin typeface="+mn-lt"/>
              <a:cs typeface="Calibri"/>
            </a:endParaRP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Bharat: add something about how we integrate with the Azure data platform in talk track</a:t>
            </a:r>
            <a:endParaRPr lang="en-US" sz="1200" b="0" i="0" u="none" strike="noStrike" kern="120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5635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cognitive-services/translator/</a:t>
            </a:r>
          </a:p>
        </p:txBody>
      </p:sp>
      <p:sp>
        <p:nvSpPr>
          <p:cNvPr id="4" name="Slide Number Placeholder 3"/>
          <p:cNvSpPr>
            <a:spLocks noGrp="1"/>
          </p:cNvSpPr>
          <p:nvPr>
            <p:ph type="sldNum" sz="quarter" idx="5"/>
          </p:nvPr>
        </p:nvSpPr>
        <p:spPr/>
        <p:txBody>
          <a:bodyPr/>
          <a:lstStyle/>
          <a:p>
            <a:fld id="{8DB64E00-2754-4FA4-B761-9EBD03993AA1}" type="slidenum">
              <a:rPr lang="en-IE" smtClean="0"/>
              <a:t>16</a:t>
            </a:fld>
            <a:endParaRPr lang="en-IE"/>
          </a:p>
        </p:txBody>
      </p:sp>
    </p:spTree>
    <p:extLst>
      <p:ext uri="{BB962C8B-B14F-4D97-AF65-F5344CB8AC3E}">
        <p14:creationId xmlns:p14="http://schemas.microsoft.com/office/powerpoint/2010/main" val="28624326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age Analysis: It can </a:t>
            </a:r>
            <a:r>
              <a:rPr lang="en-GB" dirty="0" err="1"/>
              <a:t>analyze</a:t>
            </a:r>
            <a:r>
              <a:rPr lang="en-GB" dirty="0"/>
              <a:t> visual content in different ways depending on the visual features you’re interested in1</a:t>
            </a:r>
          </a:p>
          <a:p>
            <a:endParaRPr lang="en-GB" dirty="0"/>
          </a:p>
          <a:p>
            <a:r>
              <a:rPr lang="en-GB" dirty="0"/>
              <a:t>Optical Character Recognition (OCR): It extracts printed and handwritten text from images and documents with high accuracy, supporting multiple languages and writing styles2</a:t>
            </a:r>
          </a:p>
          <a:p>
            <a:endParaRPr lang="en-GB" dirty="0"/>
          </a:p>
          <a:p>
            <a:r>
              <a:rPr lang="en-GB" dirty="0"/>
              <a:t>Spatial Analysis: This feature helps in understanding the movement of people in a physical space in real-time1</a:t>
            </a:r>
          </a:p>
          <a:p>
            <a:endParaRPr lang="en-GB" dirty="0"/>
          </a:p>
          <a:p>
            <a:r>
              <a:rPr lang="en-GB" dirty="0"/>
              <a:t>Face Detection: It can detect human faces in images and identify attributes like emotions and head pose1</a:t>
            </a:r>
          </a:p>
          <a:p>
            <a:endParaRPr lang="en-GB" dirty="0"/>
          </a:p>
          <a:p>
            <a:r>
              <a:rPr lang="en-GB" dirty="0"/>
              <a:t>Form Recognizer: This extracts key-value pairs and tables from documents1</a:t>
            </a:r>
          </a:p>
          <a:p>
            <a:endParaRPr lang="en-GB" dirty="0"/>
          </a:p>
          <a:p>
            <a:r>
              <a:rPr lang="en-GB" dirty="0"/>
              <a:t>Custom Vision: This service allows you to build, deploy, and improve your own image classifiers—an advanced feature that enables you to tailor the service to your specific needs1</a:t>
            </a:r>
          </a:p>
          <a:p>
            <a:endParaRPr lang="en-GB" dirty="0"/>
          </a:p>
          <a:p>
            <a:r>
              <a:rPr lang="en-GB" dirty="0"/>
              <a:t>Content Moderator: It helps in moderating content by detecting potential offensive and unwanted images1</a:t>
            </a:r>
          </a:p>
          <a:p>
            <a:endParaRPr lang="en-GB" dirty="0"/>
          </a:p>
          <a:p>
            <a:r>
              <a:rPr lang="en-GB" dirty="0"/>
              <a:t>Personalizer: This feature offers a personalized user experience by prioritizing relevant content in images1</a:t>
            </a:r>
          </a:p>
          <a:p>
            <a:endParaRPr lang="en-GB" dirty="0"/>
          </a:p>
          <a:p>
            <a:r>
              <a:rPr lang="en-GB" dirty="0"/>
              <a:t>Computer Vision for Spatial Analysis: It is an advanced feature that processes video from cameras to understand the movement of people in a space1</a:t>
            </a:r>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7</a:t>
            </a:fld>
            <a:endParaRPr lang="en-IE"/>
          </a:p>
        </p:txBody>
      </p:sp>
    </p:spTree>
    <p:extLst>
      <p:ext uri="{BB962C8B-B14F-4D97-AF65-F5344CB8AC3E}">
        <p14:creationId xmlns:p14="http://schemas.microsoft.com/office/powerpoint/2010/main" val="1975152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Formerly known as Form Recogniser</a:t>
            </a:r>
          </a:p>
          <a:p>
            <a:endParaRPr lang="en-IE" dirty="0"/>
          </a:p>
          <a:p>
            <a:r>
              <a:rPr lang="en-IE" dirty="0"/>
              <a:t>https://learn.microsoft.com/en-us/azure/ai-services/document-intelligence/concept-model-overview?view=doc-intel-4.0.0</a:t>
            </a:r>
          </a:p>
        </p:txBody>
      </p:sp>
      <p:sp>
        <p:nvSpPr>
          <p:cNvPr id="4" name="Slide Number Placeholder 3"/>
          <p:cNvSpPr>
            <a:spLocks noGrp="1"/>
          </p:cNvSpPr>
          <p:nvPr>
            <p:ph type="sldNum" sz="quarter" idx="5"/>
          </p:nvPr>
        </p:nvSpPr>
        <p:spPr/>
        <p:txBody>
          <a:bodyPr/>
          <a:lstStyle/>
          <a:p>
            <a:fld id="{8DB64E00-2754-4FA4-B761-9EBD03993AA1}" type="slidenum">
              <a:rPr lang="en-IE" smtClean="0"/>
              <a:t>18</a:t>
            </a:fld>
            <a:endParaRPr lang="en-IE"/>
          </a:p>
        </p:txBody>
      </p:sp>
    </p:spTree>
    <p:extLst>
      <p:ext uri="{BB962C8B-B14F-4D97-AF65-F5344CB8AC3E}">
        <p14:creationId xmlns:p14="http://schemas.microsoft.com/office/powerpoint/2010/main" val="1405085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ai-document-intelligence/</a:t>
            </a:r>
          </a:p>
        </p:txBody>
      </p:sp>
      <p:sp>
        <p:nvSpPr>
          <p:cNvPr id="4" name="Slide Number Placeholder 3"/>
          <p:cNvSpPr>
            <a:spLocks noGrp="1"/>
          </p:cNvSpPr>
          <p:nvPr>
            <p:ph type="sldNum" sz="quarter" idx="5"/>
          </p:nvPr>
        </p:nvSpPr>
        <p:spPr/>
        <p:txBody>
          <a:bodyPr/>
          <a:lstStyle/>
          <a:p>
            <a:fld id="{8DB64E00-2754-4FA4-B761-9EBD03993AA1}" type="slidenum">
              <a:rPr lang="en-IE" smtClean="0"/>
              <a:t>21</a:t>
            </a:fld>
            <a:endParaRPr lang="en-IE"/>
          </a:p>
        </p:txBody>
      </p:sp>
    </p:spTree>
    <p:extLst>
      <p:ext uri="{BB962C8B-B14F-4D97-AF65-F5344CB8AC3E}">
        <p14:creationId xmlns:p14="http://schemas.microsoft.com/office/powerpoint/2010/main" val="2989631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custom-vision-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24</a:t>
            </a:fld>
            <a:endParaRPr lang="en-IE"/>
          </a:p>
        </p:txBody>
      </p:sp>
    </p:spTree>
    <p:extLst>
      <p:ext uri="{BB962C8B-B14F-4D97-AF65-F5344CB8AC3E}">
        <p14:creationId xmlns:p14="http://schemas.microsoft.com/office/powerpoint/2010/main" val="2147869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mn-lt"/>
              </a:rPr>
              <a:t>In banking industry OpenAI implementation revolve around </a:t>
            </a:r>
          </a:p>
          <a:p>
            <a:pPr marL="171450" indent="-171450">
              <a:buFont typeface="Arial" panose="020B0604020202020204" pitchFamily="34" charset="0"/>
              <a:buChar char="•"/>
            </a:pPr>
            <a:r>
              <a:rPr lang="en-US" dirty="0">
                <a:cs typeface="+mn-lt"/>
              </a:rPr>
              <a:t>Improving customer experience through conversational AI</a:t>
            </a:r>
          </a:p>
          <a:p>
            <a:pPr marL="171450" indent="-171450">
              <a:buFont typeface="Arial" panose="020B0604020202020204" pitchFamily="34" charset="0"/>
              <a:buChar char="•"/>
            </a:pPr>
            <a:endParaRPr lang="en-US" dirty="0">
              <a:cs typeface="+mn-lt"/>
            </a:endParaRPr>
          </a:p>
          <a:p>
            <a:pPr marL="0" indent="0">
              <a:buFont typeface="Arial" panose="020B0604020202020204" pitchFamily="34" charset="0"/>
              <a:buNone/>
            </a:pPr>
            <a:r>
              <a:rPr lang="en-US" dirty="0">
                <a:cs typeface="+mn-lt"/>
              </a:rPr>
              <a:t>Contact Center (Call center) insights – OAI service can </a:t>
            </a:r>
            <a:r>
              <a:rPr lang="en-US" dirty="0" err="1">
                <a:cs typeface="+mn-lt"/>
              </a:rPr>
              <a:t>analyse</a:t>
            </a:r>
            <a:r>
              <a:rPr lang="en-US" dirty="0">
                <a:cs typeface="+mn-lt"/>
              </a:rPr>
              <a:t> call center conversations and facilitate reporting based on key metrics – customer satisfaction, sentiment analysis, staff training.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Fraud Detection – </a:t>
            </a:r>
            <a:r>
              <a:rPr lang="en-US" dirty="0" err="1">
                <a:cs typeface="+mn-lt"/>
              </a:rPr>
              <a:t>analyse</a:t>
            </a:r>
            <a:r>
              <a:rPr lang="en-US" dirty="0">
                <a:cs typeface="+mn-lt"/>
              </a:rPr>
              <a:t> customer behavior patterns to identify unusual patterns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Empowering Advisors – summarization, key points extraction, understanding and translating large body of text from specialized language – legal, financial, etc. </a:t>
            </a:r>
          </a:p>
          <a:p>
            <a:pPr marL="0" indent="0">
              <a:buFont typeface="Arial" panose="020B0604020202020204" pitchFamily="34" charset="0"/>
              <a:buNone/>
            </a:pPr>
            <a:endParaRPr lang="en-US" dirty="0">
              <a:cs typeface="+mn-lt"/>
            </a:endParaRPr>
          </a:p>
          <a:p>
            <a:r>
              <a:rPr lang="en-US" dirty="0">
                <a:cs typeface="+mn-lt"/>
              </a:rPr>
              <a:t>NLP Document Analysis </a:t>
            </a:r>
          </a:p>
          <a:p>
            <a:endParaRPr lang="en-US" dirty="0">
              <a:cs typeface="+mn-lt"/>
            </a:endParaRPr>
          </a:p>
          <a:p>
            <a:r>
              <a:rPr lang="en-US" dirty="0">
                <a:cs typeface="+mn-lt"/>
              </a:rPr>
              <a:t>Compliance Monitoring </a:t>
            </a:r>
          </a:p>
          <a:p>
            <a:endParaRPr lang="en-US" dirty="0">
              <a:cs typeface="+mn-lt"/>
            </a:endParaRPr>
          </a:p>
          <a:p>
            <a:r>
              <a:rPr lang="en-US" dirty="0">
                <a:cs typeface="+mn-lt"/>
              </a:rPr>
              <a:t>Natural language translation</a:t>
            </a:r>
          </a:p>
          <a:p>
            <a:endParaRPr lang="en-US" dirty="0">
              <a:cs typeface="+mn-lt"/>
            </a:endParaRPr>
          </a:p>
          <a:p>
            <a:endParaRPr lang="en-US" dirty="0">
              <a:cs typeface="+mn-lt"/>
            </a:endParaRPr>
          </a:p>
          <a:p>
            <a:br>
              <a:rPr lang="en-US" dirty="0">
                <a:cs typeface="+mn-lt"/>
              </a:rPr>
            </a:br>
            <a:r>
              <a:rPr lang="en-US" b="1" dirty="0">
                <a:cs typeface="Calibri"/>
              </a:rPr>
              <a:t>Bill:</a:t>
            </a:r>
            <a:endParaRPr lang="en-US" b="1" dirty="0"/>
          </a:p>
          <a:p>
            <a:endParaRPr lang="en-US" dirty="0"/>
          </a:p>
          <a:p>
            <a:r>
              <a:rPr lang="en-US" dirty="0"/>
              <a:t>That is a great step forward. So in these early days, what are you seeing as the first use cases where generative AI can have the greatest impact? </a:t>
            </a:r>
          </a:p>
          <a:p>
            <a:endParaRPr lang="en-US" b="1" dirty="0"/>
          </a:p>
          <a:p>
            <a:r>
              <a:rPr lang="en-US" b="1" dirty="0"/>
              <a:t>Sean:</a:t>
            </a:r>
            <a:r>
              <a:rPr lang="en-US" dirty="0"/>
              <a:t> </a:t>
            </a:r>
            <a:endParaRPr lang="en-US" dirty="0">
              <a:cs typeface="Calibri"/>
            </a:endParaRPr>
          </a:p>
          <a:p>
            <a:r>
              <a:rPr lang="en-US" dirty="0"/>
              <a:t> </a:t>
            </a:r>
          </a:p>
          <a:p>
            <a:r>
              <a:rPr lang="en-US" dirty="0"/>
              <a:t>We are seeing so many uses being brought to us by customers and partners and so much excitement.</a:t>
            </a:r>
          </a:p>
          <a:p>
            <a:endParaRPr lang="en-US" dirty="0"/>
          </a:p>
          <a:p>
            <a:r>
              <a:rPr lang="en-US" b="1" dirty="0"/>
              <a:t>This view that you see on the screen represents some of the themes we’re seeing across all 3 sub-verticals for Banking, Insurance and Capital Markets for Generative AI as well as a set of common use cases.</a:t>
            </a:r>
            <a:endParaRPr lang="en-US" dirty="0"/>
          </a:p>
          <a:p>
            <a:r>
              <a:rPr lang="en-US" dirty="0"/>
              <a:t> </a:t>
            </a:r>
          </a:p>
          <a:p>
            <a:r>
              <a:rPr lang="en-US" dirty="0"/>
              <a:t>For a point of reference, we conduct AI/LLM workshops across all industries to get customer and partner insight as well as engage on these use cases…   </a:t>
            </a:r>
          </a:p>
          <a:p>
            <a:r>
              <a:rPr lang="en-US" dirty="0"/>
              <a:t> </a:t>
            </a:r>
          </a:p>
          <a:p>
            <a:r>
              <a:rPr lang="en-US" dirty="0"/>
              <a:t>It is clear this is not only a top priority for our business but also that our customers and partners want to engage quickly and meaningfully. </a:t>
            </a:r>
          </a:p>
          <a:p>
            <a:r>
              <a:rPr lang="en-US" dirty="0"/>
              <a:t> </a:t>
            </a:r>
          </a:p>
          <a:p>
            <a:r>
              <a:rPr lang="en-US" dirty="0"/>
              <a:t>With the industry’s focus on managing risk and generating returns, generative AI has the potential to drive marked improvements in employee productivity, operational efficiency, and customer experience. </a:t>
            </a:r>
          </a:p>
          <a:p>
            <a:r>
              <a:rPr lang="en-US" dirty="0"/>
              <a:t> </a:t>
            </a:r>
          </a:p>
          <a:p>
            <a:r>
              <a:rPr lang="en-US" dirty="0"/>
              <a:t>Generative AI has added a whole new dimension to what we mean by </a:t>
            </a:r>
            <a:r>
              <a:rPr lang="en-US" b="1" dirty="0"/>
              <a:t>intelligent banking </a:t>
            </a:r>
            <a:r>
              <a:rPr lang="en-US" dirty="0"/>
              <a:t>and the possibilities it creates to unlock greater innovation and business value at an accelerated pace. </a:t>
            </a:r>
          </a:p>
          <a:p>
            <a:r>
              <a:rPr lang="en-US" dirty="0"/>
              <a:t> </a:t>
            </a:r>
          </a:p>
          <a:p>
            <a:r>
              <a:rPr lang="en-US" dirty="0"/>
              <a:t>Other use cases range from everything from </a:t>
            </a:r>
            <a:r>
              <a:rPr lang="en-US" b="1" dirty="0"/>
              <a:t>fraud detection</a:t>
            </a:r>
            <a:r>
              <a:rPr lang="en-US" dirty="0"/>
              <a:t>, Natural Language Processing (NLP) document analysis, to Pitchbook generation.  Ahh, pitchbook generation – I wish this was available when I started my career in Investment Banking.</a:t>
            </a:r>
          </a:p>
          <a:p>
            <a:endParaRPr lang="en-US" dirty="0">
              <a:cs typeface="Calibri"/>
            </a:endParaRPr>
          </a:p>
          <a:p>
            <a:endParaRPr lang="en-US" dirty="0"/>
          </a:p>
        </p:txBody>
      </p:sp>
    </p:spTree>
    <p:extLst>
      <p:ext uri="{BB962C8B-B14F-4D97-AF65-F5344CB8AC3E}">
        <p14:creationId xmlns:p14="http://schemas.microsoft.com/office/powerpoint/2010/main" val="2551273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Contact us for details</a:t>
            </a:r>
          </a:p>
        </p:txBody>
      </p:sp>
      <p:sp>
        <p:nvSpPr>
          <p:cNvPr id="4" name="Slide Number Placeholder 3"/>
          <p:cNvSpPr>
            <a:spLocks noGrp="1"/>
          </p:cNvSpPr>
          <p:nvPr>
            <p:ph type="sldNum" sz="quarter" idx="5"/>
          </p:nvPr>
        </p:nvSpPr>
        <p:spPr/>
        <p:txBody>
          <a:bodyPr/>
          <a:lstStyle/>
          <a:p>
            <a:fld id="{EE4B2235-26FE-40A4-86C8-7E60C27C1CE4}" type="slidenum">
              <a:rPr lang="en-IE" smtClean="0"/>
              <a:t>26</a:t>
            </a:fld>
            <a:endParaRPr lang="en-IE"/>
          </a:p>
        </p:txBody>
      </p:sp>
    </p:spTree>
    <p:extLst>
      <p:ext uri="{BB962C8B-B14F-4D97-AF65-F5344CB8AC3E}">
        <p14:creationId xmlns:p14="http://schemas.microsoft.com/office/powerpoint/2010/main" val="412776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rrative/talk track:</a:t>
            </a:r>
          </a:p>
          <a:p>
            <a:pPr algn="l"/>
            <a:r>
              <a:rPr lang="en-US" b="0" i="0" dirty="0">
                <a:solidFill>
                  <a:srgbClr val="D1D5DB"/>
                </a:solidFill>
                <a:effectLst/>
                <a:latin typeface="Söhne"/>
              </a:rPr>
              <a:t>Azure AI is a collection of artificial intelligence services offered by Microsoft as part of its Azure cloud platform. The Azure AI services are designed to make it easy for developers and organizations to add AI capabilities to their applications, without the need for extensive expertise in AI.</a:t>
            </a:r>
          </a:p>
          <a:p>
            <a:pPr algn="l"/>
            <a:r>
              <a:rPr lang="en-US" b="0" i="0" dirty="0">
                <a:solidFill>
                  <a:srgbClr val="D1D5DB"/>
                </a:solidFill>
                <a:effectLst/>
                <a:latin typeface="Söhne"/>
              </a:rPr>
              <a:t>Azure AI includes a wide range of services, such a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collection of pre-built APIs that allow developers to add capabilities such as natural language understanding, computer vision, and speech recognition to their applications.</a:t>
            </a:r>
          </a:p>
          <a:p>
            <a:pPr algn="l">
              <a:buFont typeface="Arial" panose="020B0604020202020204" pitchFamily="34" charset="0"/>
              <a:buChar char="•"/>
            </a:pPr>
            <a:r>
              <a:rPr lang="en-US" b="0" i="0" dirty="0">
                <a:solidFill>
                  <a:srgbClr val="D1D5DB"/>
                </a:solidFill>
                <a:effectLst/>
                <a:latin typeface="Söhne"/>
              </a:rPr>
              <a:t>Azure Machine Learning: A cloud-based platform that allows developers to build, deploy, and manage machine learning models, as well as to create custom machine learning algorithm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suite of scenarios-based services that enable organizations to accelerate adoption such as Azure Cognitive Search which provides search capabilities over structured and unstructured data by using machine learning models.</a:t>
            </a:r>
          </a:p>
          <a:p>
            <a:pPr algn="l"/>
            <a:r>
              <a:rPr lang="en-US" b="0" i="0" dirty="0">
                <a:solidFill>
                  <a:srgbClr val="D1D5DB"/>
                </a:solidFill>
                <a:effectLst/>
                <a:latin typeface="Söhne"/>
              </a:rPr>
              <a:t>These services are integrated with Azure platform, which provides capabilities such as scalability, security, and compliance, as well as many other tools and services that can be used to build and deploy AI-enabled applications.</a:t>
            </a:r>
          </a:p>
          <a:p>
            <a:pPr algn="l"/>
            <a:r>
              <a:rPr lang="en-US" b="0" i="0" dirty="0">
                <a:solidFill>
                  <a:srgbClr val="D1D5DB"/>
                </a:solidFill>
                <a:effectLst/>
                <a:latin typeface="Söhne"/>
              </a:rPr>
              <a:t>The Azure AI services are designed to make it easy for developers and organizations to add AI capabilities to their applications, without the need for extensive expertise in AI. Microsoft's Azure AI services allow developers to quickly build, deploy, and scale AI-enabled applications, and to take advantage of the scalability, security, and compliance capabilities of Azure.</a:t>
            </a:r>
          </a:p>
          <a:p>
            <a:pPr algn="l"/>
            <a:r>
              <a:rPr lang="en-US" b="0" i="0" dirty="0">
                <a:solidFill>
                  <a:srgbClr val="D1D5DB"/>
                </a:solidFill>
                <a:effectLst/>
                <a:latin typeface="Söhne"/>
              </a:rPr>
              <a:t>Azure AI integration in AI Builder within the Microsoft Power Platform allows businesses and developers to quickly and easily build and deploy custom AI models, and to integrate them with Power Apps, Power Automate and Power Virtual Agents, in order to add advanced capabilities and improve data management and security. It also allows to easily scale up and improve performance of the models, as well as easily integrating with other Azure services.</a:t>
            </a:r>
          </a:p>
          <a:p>
            <a:pPr algn="l"/>
            <a:r>
              <a:rPr lang="en-US" b="0" i="0" dirty="0">
                <a:solidFill>
                  <a:srgbClr val="D1D5DB"/>
                </a:solidFill>
                <a:effectLst/>
                <a:latin typeface="Söhne"/>
              </a:rPr>
              <a:t>Microsoft has adopted Azure AI across a wide range of its products and services, in order to improve the functionality, performance and user experience. Some examples of where Microsoft has adopted Azure AI at scale include:</a:t>
            </a:r>
          </a:p>
          <a:p>
            <a:pPr algn="l">
              <a:buFont typeface="Arial" panose="020B0604020202020204" pitchFamily="34" charset="0"/>
              <a:buChar char="•"/>
            </a:pPr>
            <a:r>
              <a:rPr lang="en-US" b="0" i="0" dirty="0">
                <a:solidFill>
                  <a:srgbClr val="D1D5DB"/>
                </a:solidFill>
                <a:effectLst/>
                <a:latin typeface="Söhne"/>
              </a:rPr>
              <a:t>Office 365: Microsoft has integrated Azure AI capabilities into Office 365, such as natural language processing, computer vision, and text analytics, to improve the functionality of products such as Outlook and Word. This allows users to perform tasks such as automatically summarizing long documents, or automatically tagging images in email attachments.</a:t>
            </a:r>
          </a:p>
          <a:p>
            <a:pPr algn="l">
              <a:buFont typeface="Arial" panose="020B0604020202020204" pitchFamily="34" charset="0"/>
              <a:buChar char="•"/>
            </a:pPr>
            <a:r>
              <a:rPr lang="en-US" b="0" i="0" dirty="0">
                <a:solidFill>
                  <a:srgbClr val="D1D5DB"/>
                </a:solidFill>
                <a:effectLst/>
                <a:latin typeface="Söhne"/>
              </a:rPr>
              <a:t>Dynamics 365: Dynamics 365 is a collection of business applications that enable organizations to manage customer data and interactions, as well as automate business processes. With Azure AI integration, Dynamics 365 offers features like predictive lead scoring, sentiment analysis, and chatbots to help businesses better understand and interact with their customers.</a:t>
            </a:r>
          </a:p>
          <a:p>
            <a:pPr algn="l">
              <a:buFont typeface="Arial" panose="020B0604020202020204" pitchFamily="34" charset="0"/>
              <a:buChar char="•"/>
            </a:pPr>
            <a:r>
              <a:rPr lang="en-US" b="0" i="0" dirty="0">
                <a:solidFill>
                  <a:srgbClr val="D1D5DB"/>
                </a:solidFill>
                <a:effectLst/>
                <a:latin typeface="Söhne"/>
              </a:rPr>
              <a:t>Bing: Bing, Microsoft's search engine, uses Azure AI to analyze large amounts of data and improve search results for users. For example, Bing uses natural language processing to understand users' queries and generate more relevant search results.</a:t>
            </a:r>
          </a:p>
          <a:p>
            <a:pPr algn="l">
              <a:buFont typeface="Arial" panose="020B0604020202020204" pitchFamily="34" charset="0"/>
              <a:buChar char="•"/>
            </a:pPr>
            <a:r>
              <a:rPr lang="en-US" b="0" i="0" dirty="0">
                <a:solidFill>
                  <a:srgbClr val="D1D5DB"/>
                </a:solidFill>
                <a:effectLst/>
                <a:latin typeface="Söhne"/>
              </a:rPr>
              <a:t>LinkedIn: Microsoft's professional networking site, LinkedIn, uses Azure AI to help users find job opportunities, connect with others in their field, and improve the performance of its recruiting tools. For example, LinkedIn uses natural language processing to match job seekers with relevant job opportunities, and uses machine learning to help recruiters find the best candidates.</a:t>
            </a:r>
          </a:p>
          <a:p>
            <a:pPr algn="l">
              <a:buFont typeface="Arial" panose="020B0604020202020204" pitchFamily="34" charset="0"/>
              <a:buChar char="•"/>
            </a:pPr>
            <a:r>
              <a:rPr lang="en-US" b="0" i="0" dirty="0">
                <a:solidFill>
                  <a:srgbClr val="D1D5DB"/>
                </a:solidFill>
                <a:effectLst/>
                <a:latin typeface="Söhne"/>
              </a:rPr>
              <a:t>Xbox and Gaming: Microsoft uses Azure AI to power its Xbox gaming console. Azure AI allows Xbox to learn a gamer's preferences and automatically adjust the gaming experience. Additionally, it allows to improve the performance of the games and to offer more personalized gaming experiences.</a:t>
            </a:r>
          </a:p>
          <a:p>
            <a:pPr algn="l">
              <a:buFont typeface="Arial" panose="020B0604020202020204" pitchFamily="34" charset="0"/>
              <a:buNone/>
            </a:pPr>
            <a:r>
              <a:rPr lang="en-US" b="0" i="0" dirty="0">
                <a:solidFill>
                  <a:srgbClr val="D1D5DB"/>
                </a:solidFill>
                <a:effectLst/>
                <a:latin typeface="Söhne"/>
              </a:rPr>
              <a:t>These are just a few examples of how Microsoft has adopted Azure AI at scale within its products and services. Overall, Microsoft has been using Azure AI across its various products and services, to improve user experience and to offer more personalized, efficient and automated experiences to its customers.</a:t>
            </a:r>
          </a:p>
          <a:p>
            <a:pPr algn="l"/>
            <a:endParaRPr lang="en-US" b="0" i="0"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4286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45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71984">
              <a:defRPr/>
            </a:pPr>
            <a:endParaRPr lang="en-US"/>
          </a:p>
          <a:p>
            <a:pPr marL="0" marR="0" lvl="0" indent="0" algn="l" defTabSz="971984" rtl="0" eaLnBrk="1" fontAlgn="auto" latinLnBrk="0" hangingPunct="1">
              <a:lnSpc>
                <a:spcPct val="100000"/>
              </a:lnSpc>
              <a:spcBef>
                <a:spcPts val="0"/>
              </a:spcBef>
              <a:spcAft>
                <a:spcPts val="0"/>
              </a:spcAft>
              <a:buClrTx/>
              <a:buSzTx/>
              <a:buFontTx/>
              <a:buNone/>
              <a:tabLst/>
              <a:defRPr/>
            </a:pPr>
            <a:r>
              <a:rPr lang="en-IE" b="1" i="0">
                <a:solidFill>
                  <a:srgbClr val="161616"/>
                </a:solidFill>
                <a:effectLst/>
                <a:latin typeface="Segoe UI" panose="020B0502040204020203" pitchFamily="34" charset="0"/>
              </a:rPr>
              <a:t>What is Responsible AI?</a:t>
            </a:r>
          </a:p>
          <a:p>
            <a:pPr defTabSz="971984">
              <a:defRPr/>
            </a:pPr>
            <a:r>
              <a:rPr lang="en-US"/>
              <a:t>https://learn.microsoft.com/en-us/azure/machine-learning/concept-responsible-ai?view=azureml-api-2</a:t>
            </a:r>
          </a:p>
        </p:txBody>
      </p:sp>
      <p:sp>
        <p:nvSpPr>
          <p:cNvPr id="4" name="Slide Number Placeholder 3"/>
          <p:cNvSpPr>
            <a:spLocks noGrp="1"/>
          </p:cNvSpPr>
          <p:nvPr>
            <p:ph type="sldNum" sz="quarter" idx="5"/>
          </p:nvPr>
        </p:nvSpPr>
        <p:spPr/>
        <p:txBody>
          <a:bodyPr/>
          <a:lstStyle/>
          <a:p>
            <a:pPr marL="0" marR="0" lvl="0" indent="0" algn="r" defTabSz="952364"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236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4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IN" sz="1800">
                <a:effectLst/>
                <a:latin typeface="Calibri" panose="020F0502020204030204" pitchFamily="34" charset="0"/>
                <a:ea typeface="Calibri" panose="020F0502020204030204" pitchFamily="34" charset="0"/>
                <a:cs typeface="Times New Roman" panose="02020603050405020304" pitchFamily="18" charset="0"/>
              </a:rPr>
              <a:t>The Azure Language pillar offers multiple language capabilities, both prebuilt and customizable models with a single unified resource. So you just need to subscribe to 1 single Language resource, and all of these services can then be used. These services are built on </a:t>
            </a:r>
            <a:r>
              <a:rPr lang="en-IN" sz="1800" err="1">
                <a:effectLst/>
                <a:latin typeface="Calibri" panose="020F0502020204030204" pitchFamily="34" charset="0"/>
                <a:ea typeface="Calibri" panose="020F0502020204030204" pitchFamily="34" charset="0"/>
                <a:cs typeface="Times New Roman" panose="02020603050405020304" pitchFamily="18" charset="0"/>
              </a:rPr>
              <a:t>ZCode</a:t>
            </a:r>
            <a:r>
              <a:rPr lang="en-IN" sz="1800">
                <a:effectLst/>
                <a:latin typeface="Calibri" panose="020F0502020204030204" pitchFamily="34" charset="0"/>
                <a:ea typeface="Calibri" panose="020F0502020204030204" pitchFamily="34" charset="0"/>
                <a:cs typeface="Times New Roman" panose="02020603050405020304" pitchFamily="18" charset="0"/>
              </a:rPr>
              <a:t> models and offer multilingual support for more than 100 languag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42153-FA09-48C6-A7C2-13D4992B03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011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7</a:t>
            </a:fld>
            <a:endParaRPr lang="en-IE"/>
          </a:p>
        </p:txBody>
      </p:sp>
    </p:spTree>
    <p:extLst>
      <p:ext uri="{BB962C8B-B14F-4D97-AF65-F5344CB8AC3E}">
        <p14:creationId xmlns:p14="http://schemas.microsoft.com/office/powerpoint/2010/main" val="3044641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learn.microsoft.com/en-us/azure/architecture/data-guide/technology-choices/cognitive-services</a:t>
            </a:r>
          </a:p>
        </p:txBody>
      </p:sp>
      <p:sp>
        <p:nvSpPr>
          <p:cNvPr id="4" name="Slide Number Placeholder 3"/>
          <p:cNvSpPr>
            <a:spLocks noGrp="1"/>
          </p:cNvSpPr>
          <p:nvPr>
            <p:ph type="sldNum" sz="quarter" idx="5"/>
          </p:nvPr>
        </p:nvSpPr>
        <p:spPr/>
        <p:txBody>
          <a:bodyPr/>
          <a:lstStyle/>
          <a:p>
            <a:fld id="{98D6D1CA-F06C-4BAC-BBFE-438176DC3173}" type="slidenum">
              <a:rPr lang="en-IE" smtClean="0"/>
              <a:t>8</a:t>
            </a:fld>
            <a:endParaRPr lang="en-IE"/>
          </a:p>
        </p:txBody>
      </p:sp>
    </p:spTree>
    <p:extLst>
      <p:ext uri="{BB962C8B-B14F-4D97-AF65-F5344CB8AC3E}">
        <p14:creationId xmlns:p14="http://schemas.microsoft.com/office/powerpoint/2010/main" val="997505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Languages Support</a:t>
            </a:r>
          </a:p>
          <a:p>
            <a:r>
              <a:rPr lang="en-IE" dirty="0"/>
              <a:t>https://learn.microsoft.com/en-us/azure/ai-services/speech-service/language-support?tabs=stt</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9</a:t>
            </a:fld>
            <a:endParaRPr lang="en-IE"/>
          </a:p>
        </p:txBody>
      </p:sp>
    </p:spTree>
    <p:extLst>
      <p:ext uri="{BB962C8B-B14F-4D97-AF65-F5344CB8AC3E}">
        <p14:creationId xmlns:p14="http://schemas.microsoft.com/office/powerpoint/2010/main" val="3524574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speech-services/</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1</a:t>
            </a:fld>
            <a:endParaRPr lang="en-IE"/>
          </a:p>
        </p:txBody>
      </p:sp>
    </p:spTree>
    <p:extLst>
      <p:ext uri="{BB962C8B-B14F-4D97-AF65-F5344CB8AC3E}">
        <p14:creationId xmlns:p14="http://schemas.microsoft.com/office/powerpoint/2010/main" val="2333303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3</a:t>
            </a:fld>
            <a:endParaRPr lang="en-IE"/>
          </a:p>
        </p:txBody>
      </p:sp>
    </p:spTree>
    <p:extLst>
      <p:ext uri="{BB962C8B-B14F-4D97-AF65-F5344CB8AC3E}">
        <p14:creationId xmlns:p14="http://schemas.microsoft.com/office/powerpoint/2010/main" val="514320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azure.microsoft.com/en-us/pricing/details/cognitive-services/openai-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14</a:t>
            </a:fld>
            <a:endParaRPr lang="en-IE"/>
          </a:p>
        </p:txBody>
      </p:sp>
    </p:spTree>
    <p:extLst>
      <p:ext uri="{BB962C8B-B14F-4D97-AF65-F5344CB8AC3E}">
        <p14:creationId xmlns:p14="http://schemas.microsoft.com/office/powerpoint/2010/main" val="2478320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xt Translation: Azure Translator can translate text in real-time across more than 90 languages and dialects, enabling global communication and content localization1</a:t>
            </a:r>
          </a:p>
          <a:p>
            <a:endParaRPr lang="en-GB" dirty="0"/>
          </a:p>
          <a:p>
            <a:r>
              <a:rPr lang="en-GB" dirty="0"/>
              <a:t>Custom Translator: This feature allows you to build customized translation models that understand the terminology used in your own business and industry2</a:t>
            </a:r>
          </a:p>
          <a:p>
            <a:endParaRPr lang="en-GB" dirty="0"/>
          </a:p>
          <a:p>
            <a:r>
              <a:rPr lang="en-GB" dirty="0"/>
              <a:t>Document Translation: Azure Translator can also translate documents while maintaining their original formatting, which is ideal for translating manuals, guides, and more3</a:t>
            </a:r>
          </a:p>
          <a:p>
            <a:endParaRPr lang="en-GB" dirty="0"/>
          </a:p>
          <a:p>
            <a:r>
              <a:rPr lang="en-GB" dirty="0"/>
              <a:t>Speech Translation: The service offers real-time speech translation capabilities, making it possible to have multilingual conversations and presentations4</a:t>
            </a:r>
          </a:p>
          <a:p>
            <a:endParaRPr lang="en-GB" dirty="0"/>
          </a:p>
          <a:p>
            <a:r>
              <a:rPr lang="en-GB" dirty="0"/>
              <a:t>Language Detection: It can automatically detect the language of the input text, which simplifies the translation process when the language is unknown5</a:t>
            </a:r>
          </a:p>
          <a:p>
            <a:endParaRPr lang="en-GB" dirty="0"/>
          </a:p>
          <a:p>
            <a:r>
              <a:rPr lang="en-GB" dirty="0"/>
              <a:t>Transliteration: Azure Translator supports transliteration, which converts text from one script to another, aiding in pronunciation and reading of foreign languages6</a:t>
            </a:r>
          </a:p>
          <a:p>
            <a:endParaRPr lang="en-GB" dirty="0"/>
          </a:p>
          <a:p>
            <a:r>
              <a:rPr lang="en-GB" dirty="0"/>
              <a:t>Translation Memory: This feature leverages previous translations to ensure consistency and save time when translating similar or repetitive content7</a:t>
            </a:r>
          </a:p>
          <a:p>
            <a:endParaRPr lang="en-GB" dirty="0"/>
          </a:p>
          <a:p>
            <a:r>
              <a:rPr lang="en-GB" dirty="0"/>
              <a:t>Customizable Neural Machine Translation: The service uses state-of-the-art neural machine translation to provide high-quality, natural-sounding translations8</a:t>
            </a:r>
          </a:p>
          <a:p>
            <a:endParaRPr lang="en-GB" dirty="0"/>
          </a:p>
          <a:p>
            <a:r>
              <a:rPr lang="en-GB" dirty="0"/>
              <a:t>Extensive Language Support: Azure Translator continually updates and expands its language support, staying current with global language trends9</a:t>
            </a:r>
            <a:endParaRPr lang="en-IE" dirty="0"/>
          </a:p>
          <a:p>
            <a:endParaRPr lang="en-IE" dirty="0"/>
          </a:p>
          <a:p>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b="1" i="0" dirty="0">
                <a:solidFill>
                  <a:srgbClr val="161616"/>
                </a:solidFill>
                <a:effectLst/>
                <a:latin typeface="Segoe UI" panose="020B0502040204020203" pitchFamily="34" charset="0"/>
              </a:rPr>
              <a:t>Translator language support</a:t>
            </a:r>
          </a:p>
          <a:p>
            <a:r>
              <a:rPr lang="en-IE" dirty="0"/>
              <a:t>https://learn.microsoft.com/en-us/azure/ai-services/translator/language-support</a:t>
            </a:r>
          </a:p>
          <a:p>
            <a:endParaRPr lang="en-IE" dirty="0"/>
          </a:p>
          <a:p>
            <a:r>
              <a:rPr lang="en-IE" dirty="0"/>
              <a:t>Text translation</a:t>
            </a:r>
          </a:p>
          <a:p>
            <a:r>
              <a:rPr lang="en-IE" dirty="0"/>
              <a:t>Asynchronous batch document translation</a:t>
            </a:r>
          </a:p>
          <a:p>
            <a:r>
              <a:rPr lang="en-IE" dirty="0"/>
              <a:t>Synchronous document translation</a:t>
            </a:r>
          </a:p>
          <a:p>
            <a:r>
              <a:rPr lang="en-IE" dirty="0"/>
              <a:t>Custom Translation</a:t>
            </a:r>
          </a:p>
          <a:p>
            <a:endParaRPr lang="en-IE" dirty="0"/>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5</a:t>
            </a:fld>
            <a:endParaRPr lang="en-IE"/>
          </a:p>
        </p:txBody>
      </p:sp>
    </p:spTree>
    <p:extLst>
      <p:ext uri="{BB962C8B-B14F-4D97-AF65-F5344CB8AC3E}">
        <p14:creationId xmlns:p14="http://schemas.microsoft.com/office/powerpoint/2010/main" val="21477982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4.xml"/><Relationship Id="rId4" Type="http://schemas.openxmlformats.org/officeDocument/2006/relationships/image" Target="../media/image49.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4.xml"/><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4.xml"/><Relationship Id="rId4" Type="http://schemas.openxmlformats.org/officeDocument/2006/relationships/image" Target="../media/image58.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4.xml"/><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4.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4" Type="http://schemas.openxmlformats.org/officeDocument/2006/relationships/image" Target="../media/image70.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5" Type="http://schemas.openxmlformats.org/officeDocument/2006/relationships/image" Target="../media/image71.jpeg"/><Relationship Id="rId4" Type="http://schemas.openxmlformats.org/officeDocument/2006/relationships/image" Target="../media/image70.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Master" Target="../slideMasters/slideMaster8.xml"/><Relationship Id="rId4" Type="http://schemas.openxmlformats.org/officeDocument/2006/relationships/image" Target="../media/image99.sv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8.xml"/><Relationship Id="rId4" Type="http://schemas.openxmlformats.org/officeDocument/2006/relationships/image" Target="../media/image102.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Master" Target="../slideMasters/slideMaster8.xml"/><Relationship Id="rId4" Type="http://schemas.openxmlformats.org/officeDocument/2006/relationships/image" Target="../media/image105.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Master" Target="../slideMasters/slideMaster8.xml"/><Relationship Id="rId4" Type="http://schemas.openxmlformats.org/officeDocument/2006/relationships/image" Target="../media/image108.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61DE6-9326-4C63-B49B-442B68DCD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6D486819-15CC-4334-BB9B-B9689DADCA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8F2F022-A90F-4998-B6A3-1F3C69ABA6ED}"/>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5" name="Footer Placeholder 4">
            <a:extLst>
              <a:ext uri="{FF2B5EF4-FFF2-40B4-BE49-F238E27FC236}">
                <a16:creationId xmlns:a16="http://schemas.microsoft.com/office/drawing/2014/main" id="{5390BB74-1C11-4890-BEFF-91723E23EDF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DF8F74-95A2-46B9-A63A-30DA6D3C49DE}"/>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307255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FB47A-9812-4340-A847-B7B88D4E1F7D}"/>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777F9EBE-5A84-4A2E-A921-AE2029695A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558D3A5F-4AD8-4B59-AAA2-40F1E703E751}"/>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5" name="Footer Placeholder 4">
            <a:extLst>
              <a:ext uri="{FF2B5EF4-FFF2-40B4-BE49-F238E27FC236}">
                <a16:creationId xmlns:a16="http://schemas.microsoft.com/office/drawing/2014/main" id="{E116BB77-9526-409E-917C-F0CC16A8513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B8A1FED-BE58-4C5E-9F00-84BDCB1CD36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3597590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551921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2487816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831976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011943804"/>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562993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17247089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BC372F5E-C876-4BD8-B197-2E434E224B1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920878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96005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775895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15525620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88C571-E0C4-409C-9760-07FD6BE0CC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3291E3E2-4C32-494D-B413-1768CF8F6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8036D16-609F-47B6-8CCD-2E56F03EFEE9}"/>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5" name="Footer Placeholder 4">
            <a:extLst>
              <a:ext uri="{FF2B5EF4-FFF2-40B4-BE49-F238E27FC236}">
                <a16:creationId xmlns:a16="http://schemas.microsoft.com/office/drawing/2014/main" id="{B0E99B36-D7A1-4788-81E9-AAEC8592B624}"/>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9039EECC-18E6-4958-8884-80D05ECA5AD7}"/>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125972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174582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4730707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5704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05382611"/>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741693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11958422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7797657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Two people meeting in a conference room with masks.">
            <a:extLst>
              <a:ext uri="{FF2B5EF4-FFF2-40B4-BE49-F238E27FC236}">
                <a16:creationId xmlns:a16="http://schemas.microsoft.com/office/drawing/2014/main" id="{2AF824F0-A593-43FD-8AF6-E7756201423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4467399"/>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256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0773499"/>
      </p:ext>
    </p:extLst>
  </p:cSld>
  <p:clrMapOvr>
    <a:masterClrMapping/>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2782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84934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455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3257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95814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117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8975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553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560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1309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B4B42815-FB3C-4C3F-9BE5-C6429563FEB0}"/>
              </a:ext>
            </a:extLst>
          </p:cNvPr>
          <p:cNvSpPr txBox="1"/>
          <p:nvPr userDrawn="1"/>
        </p:nvSpPr>
        <p:spPr>
          <a:xfrm>
            <a:off x="430306" y="6562165"/>
            <a:ext cx="3657600" cy="169277"/>
          </a:xfrm>
          <a:prstGeom prst="rect">
            <a:avLst/>
          </a:prstGeom>
          <a:noFill/>
        </p:spPr>
        <p:txBody>
          <a:bodyPr wrap="square" lIns="0" tIns="0" rIns="0" bIns="0" rtlCol="0">
            <a:spAutoFit/>
          </a:bodyPr>
          <a:lstStyle/>
          <a:p>
            <a:pPr algn="l"/>
            <a:r>
              <a:rPr lang="en-US" sz="1100"/>
              <a:t>Microsoft Confidential</a:t>
            </a:r>
          </a:p>
        </p:txBody>
      </p:sp>
    </p:spTree>
    <p:extLst>
      <p:ext uri="{BB962C8B-B14F-4D97-AF65-F5344CB8AC3E}">
        <p14:creationId xmlns:p14="http://schemas.microsoft.com/office/powerpoint/2010/main" val="635216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8DC8E8"/>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71884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21818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73660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7604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03087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44582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9822874"/>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6407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253678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63752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3824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4805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11645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76756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0544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64069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6739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82806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09988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6127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126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67283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1440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7028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03496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3930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31562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278116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287406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98360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89046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453307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996934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08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81918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14494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0040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5915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05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533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5525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685647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886802"/>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15195054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059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299346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402751588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61635421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69660411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284735541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17264980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197299246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57787540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33338411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2638505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0842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29712512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24595191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0325574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10729979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9936104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78824796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60304223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161049609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50694108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401245533"/>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614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274802269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8932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7344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74235-6D61-6AAD-AC85-E793A7DBC1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715FE895-A7CD-B951-6AD5-EE6033DAC7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05E664E3-B2A6-265F-C643-A6BAEDFD54FD}"/>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5" name="Footer Placeholder 4">
            <a:extLst>
              <a:ext uri="{FF2B5EF4-FFF2-40B4-BE49-F238E27FC236}">
                <a16:creationId xmlns:a16="http://schemas.microsoft.com/office/drawing/2014/main" id="{44C01AAA-7E98-4484-A424-19AAF0F5147B}"/>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FEAE19-4F4B-6A49-6CDF-2DA02A4B838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145030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26E64-4025-2B64-80AA-FFCACCF927D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1EECBD23-AB5F-1B3C-E168-F8E21E4F15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67F39590-6D02-51CE-0B0D-24529710F039}"/>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5" name="Footer Placeholder 4">
            <a:extLst>
              <a:ext uri="{FF2B5EF4-FFF2-40B4-BE49-F238E27FC236}">
                <a16:creationId xmlns:a16="http://schemas.microsoft.com/office/drawing/2014/main" id="{A284D2EE-E174-CFAC-BFEA-49DA815BD83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8469350-0486-C9BC-9AED-5F33ECB3C6A8}"/>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749322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9C2F0-DC04-CA36-0AED-79984A344F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6A6A7EB0-041C-819E-3E73-D1411966F2B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BFADC1-3D80-F46C-0917-6730B3744822}"/>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5" name="Footer Placeholder 4">
            <a:extLst>
              <a:ext uri="{FF2B5EF4-FFF2-40B4-BE49-F238E27FC236}">
                <a16:creationId xmlns:a16="http://schemas.microsoft.com/office/drawing/2014/main" id="{78BE178C-507C-DFE0-118D-9EFA51F1C6D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C6C4584-37D6-E77D-F924-2B9556400CF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0973070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609C1-4543-050B-F697-97679496A981}"/>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A451381D-8629-E88C-7EA3-2C7EE2A259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83033C67-17A7-DC67-8C0B-7E2C715EF9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312B27AA-2BDC-3E4F-B18B-D9EACD3D8C85}"/>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6" name="Footer Placeholder 5">
            <a:extLst>
              <a:ext uri="{FF2B5EF4-FFF2-40B4-BE49-F238E27FC236}">
                <a16:creationId xmlns:a16="http://schemas.microsoft.com/office/drawing/2014/main" id="{30E5377E-F8FD-8E32-E151-E25E1BF31B6F}"/>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62B52DC1-9EBB-F6A1-92DD-162C3E3D67BE}"/>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6374899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96D7A-DBE2-ED24-E911-931F1E128561}"/>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7837025B-A8E2-0A73-1F28-25C6248601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66047A-510C-6968-1C30-2B39620E82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1D5CE72D-5137-14EE-FC9A-3D05D21371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76880D-44F4-8FE5-AC9A-3EEA9BB1FE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6E8419E2-55C9-F763-4DE8-57CE16EA5DF4}"/>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8" name="Footer Placeholder 7">
            <a:extLst>
              <a:ext uri="{FF2B5EF4-FFF2-40B4-BE49-F238E27FC236}">
                <a16:creationId xmlns:a16="http://schemas.microsoft.com/office/drawing/2014/main" id="{2CA9D1E6-C4F5-7D9A-07FB-36E5F894F2C3}"/>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FB101ABE-6209-09E4-C092-A3186FBB524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0016696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B4293-07FD-CBD5-765D-0840492556EA}"/>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9D4D9352-EE38-2607-C26F-8ABF157B1B72}"/>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4" name="Footer Placeholder 3">
            <a:extLst>
              <a:ext uri="{FF2B5EF4-FFF2-40B4-BE49-F238E27FC236}">
                <a16:creationId xmlns:a16="http://schemas.microsoft.com/office/drawing/2014/main" id="{18DE88F2-D88A-6FAA-DA6E-AE606B444E05}"/>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84940A54-96E0-9709-42C6-F06120CE0EF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38552881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9DBD9F-A6EE-344E-E369-92F1AD1E8038}"/>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3" name="Footer Placeholder 2">
            <a:extLst>
              <a:ext uri="{FF2B5EF4-FFF2-40B4-BE49-F238E27FC236}">
                <a16:creationId xmlns:a16="http://schemas.microsoft.com/office/drawing/2014/main" id="{537D56BB-6AB8-A74E-E350-6FDF25CB4DFB}"/>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374A0527-4834-FCC0-54D6-76805D72A74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5383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EA5A-7147-4594-B0E0-D1716315AA3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17E68FB-13D4-40F9-8B3D-6D06680AF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D3533B9-7BAF-416E-A48E-946A8E9FEA06}"/>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5" name="Footer Placeholder 4">
            <a:extLst>
              <a:ext uri="{FF2B5EF4-FFF2-40B4-BE49-F238E27FC236}">
                <a16:creationId xmlns:a16="http://schemas.microsoft.com/office/drawing/2014/main" id="{E7E64C33-BF94-493C-878E-CE7409FD1D7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919097E-12E3-4DCC-B519-946CD809858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638921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885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D3665-00DC-485C-9333-8C96C1F6CF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BAA09852-901E-C536-7C33-BFA7C6DE77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25E19B00-2A5D-D6CF-7174-A016E3CE0F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B6F243-A11E-8B1C-39BE-9641789F946A}"/>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6" name="Footer Placeholder 5">
            <a:extLst>
              <a:ext uri="{FF2B5EF4-FFF2-40B4-BE49-F238E27FC236}">
                <a16:creationId xmlns:a16="http://schemas.microsoft.com/office/drawing/2014/main" id="{CAF219A5-6C97-DCC7-38FB-8F1F1D2F6ABD}"/>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5FBFE06-549C-C2F8-9FA8-22480D10D47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77032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663F7-31B4-38E2-E741-646E901066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BB14E93D-39F5-8C9D-1446-634B425D92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B1D32499-2FBC-60C6-6F36-86DC9FBAC1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1D440B-D24C-7A2B-E71D-056392EEA3BC}"/>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6" name="Footer Placeholder 5">
            <a:extLst>
              <a:ext uri="{FF2B5EF4-FFF2-40B4-BE49-F238E27FC236}">
                <a16:creationId xmlns:a16="http://schemas.microsoft.com/office/drawing/2014/main" id="{60E49512-9CBF-DA66-91B1-FCC5D3987322}"/>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B942334-BC00-2484-C0CC-282359A8BC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2352030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5D8C-8FA4-B0B0-B3BF-2B4430EDFE01}"/>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DC5F39B-F613-8269-D707-40418B5C3C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9BA9C10-1EAB-79A1-C2E1-645A6CC1EA55}"/>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5" name="Footer Placeholder 4">
            <a:extLst>
              <a:ext uri="{FF2B5EF4-FFF2-40B4-BE49-F238E27FC236}">
                <a16:creationId xmlns:a16="http://schemas.microsoft.com/office/drawing/2014/main" id="{454F7A36-C0D6-D2A4-4431-CB52FCBBADB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F4E0504-FB9D-83B6-5647-4A3F00B12B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8034800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8872CA-F676-87D4-1A23-6CEB9911458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E5E9173E-01A8-2B08-1DFD-BA849B15A6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CF3169D2-530A-61CB-0FE3-933A92024169}"/>
              </a:ext>
            </a:extLst>
          </p:cNvPr>
          <p:cNvSpPr>
            <a:spLocks noGrp="1"/>
          </p:cNvSpPr>
          <p:nvPr>
            <p:ph type="dt" sz="half" idx="10"/>
          </p:nvPr>
        </p:nvSpPr>
        <p:spPr/>
        <p:txBody>
          <a:bodyPr/>
          <a:lstStyle/>
          <a:p>
            <a:fld id="{188732FF-DC54-407F-B196-54845B146FCB}" type="datetimeFigureOut">
              <a:rPr lang="en-IE" smtClean="0"/>
              <a:t>29/04/2024</a:t>
            </a:fld>
            <a:endParaRPr lang="en-IE"/>
          </a:p>
        </p:txBody>
      </p:sp>
      <p:sp>
        <p:nvSpPr>
          <p:cNvPr id="5" name="Footer Placeholder 4">
            <a:extLst>
              <a:ext uri="{FF2B5EF4-FFF2-40B4-BE49-F238E27FC236}">
                <a16:creationId xmlns:a16="http://schemas.microsoft.com/office/drawing/2014/main" id="{DFA79B03-C769-40C2-E32B-733AAE9A0C85}"/>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7759FE2C-0BB5-378C-442F-1B45257B236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82999721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27" name="Left Brace 26">
            <a:extLst>
              <a:ext uri="{FF2B5EF4-FFF2-40B4-BE49-F238E27FC236}">
                <a16:creationId xmlns:a16="http://schemas.microsoft.com/office/drawing/2014/main" id="{427E7013-5891-4D7D-998A-D1D3448B99EA}"/>
              </a:ext>
              <a:ext uri="{C183D7F6-B498-43B3-948B-1728B52AA6E4}">
                <adec:decorative xmlns:adec="http://schemas.microsoft.com/office/drawing/2017/decorative" val="1"/>
              </a:ext>
            </a:extLst>
          </p:cNvPr>
          <p:cNvSpPr/>
          <p:nvPr userDrawn="1"/>
        </p:nvSpPr>
        <p:spPr>
          <a:xfrm>
            <a:off x="1531293" y="1107219"/>
            <a:ext cx="394857" cy="1823160"/>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4B915F01-0282-4ADC-8FAF-B7A924EA5033}"/>
              </a:ext>
              <a:ext uri="{C183D7F6-B498-43B3-948B-1728B52AA6E4}">
                <adec:decorative xmlns:adec="http://schemas.microsoft.com/office/drawing/2017/decorative" val="1"/>
              </a:ext>
            </a:extLst>
          </p:cNvPr>
          <p:cNvSpPr/>
          <p:nvPr userDrawn="1"/>
        </p:nvSpPr>
        <p:spPr>
          <a:xfrm>
            <a:off x="1531293" y="3023902"/>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2">
            <a:extLst>
              <a:ext uri="{FF2B5EF4-FFF2-40B4-BE49-F238E27FC236}">
                <a16:creationId xmlns:a16="http://schemas.microsoft.com/office/drawing/2014/main" id="{9C6468E2-2D08-461F-915F-624B58849A90}"/>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0" name="Freeform 2">
            <a:extLst>
              <a:ext uri="{FF2B5EF4-FFF2-40B4-BE49-F238E27FC236}">
                <a16:creationId xmlns:a16="http://schemas.microsoft.com/office/drawing/2014/main" id="{FCD992EF-6C3A-4D19-82CC-89E59C6A278F}"/>
              </a:ext>
              <a:ext uri="{C183D7F6-B498-43B3-948B-1728B52AA6E4}">
                <adec:decorative xmlns:adec="http://schemas.microsoft.com/office/drawing/2017/decorative" val="1"/>
              </a:ext>
            </a:extLst>
          </p:cNvPr>
          <p:cNvSpPr>
            <a:spLocks noChangeArrowheads="1"/>
          </p:cNvSpPr>
          <p:nvPr userDrawn="1"/>
        </p:nvSpPr>
        <p:spPr bwMode="auto">
          <a:xfrm>
            <a:off x="2144676" y="2061034"/>
            <a:ext cx="8688192" cy="810170"/>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1" name="Freeform 2">
            <a:extLst>
              <a:ext uri="{FF2B5EF4-FFF2-40B4-BE49-F238E27FC236}">
                <a16:creationId xmlns:a16="http://schemas.microsoft.com/office/drawing/2014/main" id="{17A734EE-FDA2-4D47-9DC8-525211F27C86}"/>
              </a:ext>
              <a:ext uri="{C183D7F6-B498-43B3-948B-1728B52AA6E4}">
                <adec:decorative xmlns:adec="http://schemas.microsoft.com/office/drawing/2017/decorative" val="0"/>
              </a:ext>
            </a:extLst>
          </p:cNvPr>
          <p:cNvSpPr>
            <a:spLocks noChangeArrowheads="1"/>
          </p:cNvSpPr>
          <p:nvPr userDrawn="1"/>
        </p:nvSpPr>
        <p:spPr bwMode="auto">
          <a:xfrm>
            <a:off x="2140647" y="2939971"/>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cxnSp>
        <p:nvCxnSpPr>
          <p:cNvPr id="32" name="Straight Connector 31">
            <a:extLst>
              <a:ext uri="{FF2B5EF4-FFF2-40B4-BE49-F238E27FC236}">
                <a16:creationId xmlns:a16="http://schemas.microsoft.com/office/drawing/2014/main" id="{81B7FB16-9CF1-429D-96D8-ED4AC8AD98C9}"/>
              </a:ext>
              <a:ext uri="{C183D7F6-B498-43B3-948B-1728B52AA6E4}">
                <adec:decorative xmlns:adec="http://schemas.microsoft.com/office/drawing/2017/decorative" val="1"/>
              </a:ext>
            </a:extLst>
          </p:cNvPr>
          <p:cNvCxnSpPr/>
          <p:nvPr userDrawn="1"/>
        </p:nvCxnSpPr>
        <p:spPr>
          <a:xfrm>
            <a:off x="2133296" y="4109507"/>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5E605C2-DE0F-4E11-A748-06243182BDB7}"/>
              </a:ext>
              <a:ext uri="{C183D7F6-B498-43B3-948B-1728B52AA6E4}">
                <adec:decorative xmlns:adec="http://schemas.microsoft.com/office/drawing/2017/decorative" val="1"/>
              </a:ext>
            </a:extLst>
          </p:cNvPr>
          <p:cNvCxnSpPr/>
          <p:nvPr userDrawn="1"/>
        </p:nvCxnSpPr>
        <p:spPr>
          <a:xfrm>
            <a:off x="2140646" y="54536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E2F3D08-B9F9-44FD-9D81-975E82017F45}"/>
              </a:ext>
            </a:extLst>
          </p:cNvPr>
          <p:cNvSpPr>
            <a:spLocks noGrp="1"/>
          </p:cNvSpPr>
          <p:nvPr>
            <p:ph sz="quarter" idx="10"/>
          </p:nvPr>
        </p:nvSpPr>
        <p:spPr>
          <a:xfrm>
            <a:off x="762000" y="2514600"/>
            <a:ext cx="2552700" cy="442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EC1CB88C-7308-48A9-AA29-E857263F0D56}"/>
              </a:ext>
            </a:extLst>
          </p:cNvPr>
          <p:cNvSpPr>
            <a:spLocks noGrp="1"/>
          </p:cNvSpPr>
          <p:nvPr>
            <p:ph sz="quarter" idx="11"/>
          </p:nvPr>
        </p:nvSpPr>
        <p:spPr>
          <a:xfrm>
            <a:off x="3162300" y="1409700"/>
            <a:ext cx="1524000" cy="76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8555566C-E347-45FC-96AC-FFDB70761928}"/>
              </a:ext>
            </a:extLst>
          </p:cNvPr>
          <p:cNvSpPr>
            <a:spLocks noGrp="1"/>
          </p:cNvSpPr>
          <p:nvPr>
            <p:ph sz="quarter" idx="12"/>
          </p:nvPr>
        </p:nvSpPr>
        <p:spPr>
          <a:xfrm>
            <a:off x="5543550" y="251460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2C3FF71D-D729-4161-9BE9-6996BB7BCA65}"/>
              </a:ext>
            </a:extLst>
          </p:cNvPr>
          <p:cNvSpPr>
            <a:spLocks noGrp="1"/>
          </p:cNvSpPr>
          <p:nvPr>
            <p:ph sz="quarter" idx="13"/>
          </p:nvPr>
        </p:nvSpPr>
        <p:spPr>
          <a:xfrm>
            <a:off x="4038600" y="417195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4A5A3380-F904-4779-9286-9D03A2B5653B}"/>
              </a:ext>
            </a:extLst>
          </p:cNvPr>
          <p:cNvSpPr>
            <a:spLocks noGrp="1"/>
          </p:cNvSpPr>
          <p:nvPr>
            <p:ph sz="quarter" idx="14"/>
          </p:nvPr>
        </p:nvSpPr>
        <p:spPr>
          <a:xfrm>
            <a:off x="762000" y="468630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AF96331D-3068-4A08-877D-4D3134CBBD1C}"/>
              </a:ext>
            </a:extLst>
          </p:cNvPr>
          <p:cNvSpPr>
            <a:spLocks noGrp="1"/>
          </p:cNvSpPr>
          <p:nvPr>
            <p:ph sz="quarter" idx="15"/>
          </p:nvPr>
        </p:nvSpPr>
        <p:spPr>
          <a:xfrm>
            <a:off x="3314700" y="2957513"/>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ED3D290B-3280-4740-AB4C-80DD0276B2BF}"/>
              </a:ext>
            </a:extLst>
          </p:cNvPr>
          <p:cNvSpPr>
            <a:spLocks noGrp="1"/>
          </p:cNvSpPr>
          <p:nvPr>
            <p:ph sz="quarter" idx="16"/>
          </p:nvPr>
        </p:nvSpPr>
        <p:spPr>
          <a:xfrm>
            <a:off x="6400800" y="879475"/>
            <a:ext cx="1524000" cy="89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2B19F78E-5F73-438E-9552-8822F25B0B44}"/>
              </a:ext>
            </a:extLst>
          </p:cNvPr>
          <p:cNvSpPr>
            <a:spLocks noGrp="1"/>
          </p:cNvSpPr>
          <p:nvPr>
            <p:ph sz="quarter" idx="17"/>
          </p:nvPr>
        </p:nvSpPr>
        <p:spPr>
          <a:xfrm>
            <a:off x="7696200" y="5334000"/>
            <a:ext cx="1905000" cy="64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a:extLst>
              <a:ext uri="{FF2B5EF4-FFF2-40B4-BE49-F238E27FC236}">
                <a16:creationId xmlns:a16="http://schemas.microsoft.com/office/drawing/2014/main" id="{E35C49D4-9358-4308-A121-E15E06D9C3E4}"/>
              </a:ext>
            </a:extLst>
          </p:cNvPr>
          <p:cNvSpPr>
            <a:spLocks noGrp="1"/>
          </p:cNvSpPr>
          <p:nvPr>
            <p:ph sz="quarter" idx="18"/>
          </p:nvPr>
        </p:nvSpPr>
        <p:spPr>
          <a:xfrm>
            <a:off x="7924800" y="2957513"/>
            <a:ext cx="1714500" cy="89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a:extLst>
              <a:ext uri="{FF2B5EF4-FFF2-40B4-BE49-F238E27FC236}">
                <a16:creationId xmlns:a16="http://schemas.microsoft.com/office/drawing/2014/main" id="{1B4AA04C-1AE0-4AE7-8DBB-36B8B47D47D5}"/>
              </a:ext>
            </a:extLst>
          </p:cNvPr>
          <p:cNvSpPr>
            <a:spLocks noGrp="1"/>
          </p:cNvSpPr>
          <p:nvPr>
            <p:ph sz="quarter" idx="19"/>
          </p:nvPr>
        </p:nvSpPr>
        <p:spPr>
          <a:xfrm>
            <a:off x="8801100" y="1409700"/>
            <a:ext cx="1858963" cy="76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563CAC24-62C4-4F11-91D7-470F9DEC5462}"/>
              </a:ext>
            </a:extLst>
          </p:cNvPr>
          <p:cNvSpPr>
            <a:spLocks noGrp="1"/>
          </p:cNvSpPr>
          <p:nvPr>
            <p:ph sz="quarter" idx="20"/>
          </p:nvPr>
        </p:nvSpPr>
        <p:spPr>
          <a:xfrm>
            <a:off x="2286000" y="5600700"/>
            <a:ext cx="2209800" cy="108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5">
            <a:extLst>
              <a:ext uri="{FF2B5EF4-FFF2-40B4-BE49-F238E27FC236}">
                <a16:creationId xmlns:a16="http://schemas.microsoft.com/office/drawing/2014/main" id="{4C787969-7C9F-49B2-9A4B-F35051D43003}"/>
              </a:ext>
            </a:extLst>
          </p:cNvPr>
          <p:cNvSpPr>
            <a:spLocks noGrp="1"/>
          </p:cNvSpPr>
          <p:nvPr>
            <p:ph sz="quarter" idx="21"/>
          </p:nvPr>
        </p:nvSpPr>
        <p:spPr>
          <a:xfrm>
            <a:off x="5943600" y="4686300"/>
            <a:ext cx="2209800" cy="129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34" name="Table 37">
            <a:extLst>
              <a:ext uri="{FF2B5EF4-FFF2-40B4-BE49-F238E27FC236}">
                <a16:creationId xmlns:a16="http://schemas.microsoft.com/office/drawing/2014/main" id="{C4A0F819-6E46-43A2-88E6-74869ADBCFC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143121412"/>
              </p:ext>
            </p:extLst>
          </p:nvPr>
        </p:nvGraphicFramePr>
        <p:xfrm>
          <a:off x="2240280" y="2562683"/>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sp>
        <p:nvSpPr>
          <p:cNvPr id="36" name="Content Placeholder 35">
            <a:extLst>
              <a:ext uri="{FF2B5EF4-FFF2-40B4-BE49-F238E27FC236}">
                <a16:creationId xmlns:a16="http://schemas.microsoft.com/office/drawing/2014/main" id="{765CA67B-4386-4AB1-9485-0F4F5209B01B}"/>
              </a:ext>
            </a:extLst>
          </p:cNvPr>
          <p:cNvSpPr>
            <a:spLocks noGrp="1"/>
          </p:cNvSpPr>
          <p:nvPr>
            <p:ph sz="quarter" idx="22"/>
          </p:nvPr>
        </p:nvSpPr>
        <p:spPr>
          <a:xfrm>
            <a:off x="427038" y="1508125"/>
            <a:ext cx="609600" cy="36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7">
            <a:extLst>
              <a:ext uri="{FF2B5EF4-FFF2-40B4-BE49-F238E27FC236}">
                <a16:creationId xmlns:a16="http://schemas.microsoft.com/office/drawing/2014/main" id="{09D05BE6-2001-4ED5-9D7A-5970BA0C4CF7}"/>
              </a:ext>
            </a:extLst>
          </p:cNvPr>
          <p:cNvSpPr>
            <a:spLocks noGrp="1"/>
          </p:cNvSpPr>
          <p:nvPr>
            <p:ph sz="quarter" idx="23"/>
          </p:nvPr>
        </p:nvSpPr>
        <p:spPr>
          <a:xfrm>
            <a:off x="906463" y="960438"/>
            <a:ext cx="800100" cy="36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Content Placeholder 39">
            <a:extLst>
              <a:ext uri="{FF2B5EF4-FFF2-40B4-BE49-F238E27FC236}">
                <a16:creationId xmlns:a16="http://schemas.microsoft.com/office/drawing/2014/main" id="{AC8606EE-7B73-4A1C-86BF-D42B3800AF6E}"/>
              </a:ext>
            </a:extLst>
          </p:cNvPr>
          <p:cNvSpPr>
            <a:spLocks noGrp="1"/>
          </p:cNvSpPr>
          <p:nvPr>
            <p:ph sz="quarter" idx="24"/>
          </p:nvPr>
        </p:nvSpPr>
        <p:spPr>
          <a:xfrm>
            <a:off x="1592263" y="1508125"/>
            <a:ext cx="958850" cy="51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41">
            <a:extLst>
              <a:ext uri="{FF2B5EF4-FFF2-40B4-BE49-F238E27FC236}">
                <a16:creationId xmlns:a16="http://schemas.microsoft.com/office/drawing/2014/main" id="{22A9A190-DBC8-4046-A7B5-FAEB0D33E419}"/>
              </a:ext>
            </a:extLst>
          </p:cNvPr>
          <p:cNvSpPr>
            <a:spLocks noGrp="1"/>
          </p:cNvSpPr>
          <p:nvPr>
            <p:ph sz="quarter" idx="25"/>
          </p:nvPr>
        </p:nvSpPr>
        <p:spPr>
          <a:xfrm>
            <a:off x="1912938" y="654050"/>
            <a:ext cx="754062" cy="425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43">
            <a:extLst>
              <a:ext uri="{FF2B5EF4-FFF2-40B4-BE49-F238E27FC236}">
                <a16:creationId xmlns:a16="http://schemas.microsoft.com/office/drawing/2014/main" id="{471F0D16-5FB0-474E-9620-2E7D63831E06}"/>
              </a:ext>
            </a:extLst>
          </p:cNvPr>
          <p:cNvSpPr>
            <a:spLocks noGrp="1"/>
          </p:cNvSpPr>
          <p:nvPr>
            <p:ph sz="quarter" idx="26"/>
          </p:nvPr>
        </p:nvSpPr>
        <p:spPr>
          <a:xfrm>
            <a:off x="3108325" y="836613"/>
            <a:ext cx="754063" cy="365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45">
            <a:extLst>
              <a:ext uri="{FF2B5EF4-FFF2-40B4-BE49-F238E27FC236}">
                <a16:creationId xmlns:a16="http://schemas.microsoft.com/office/drawing/2014/main" id="{2094E6B3-2A00-4512-86BB-6CFE117F748E}"/>
              </a:ext>
            </a:extLst>
          </p:cNvPr>
          <p:cNvSpPr>
            <a:spLocks noGrp="1"/>
          </p:cNvSpPr>
          <p:nvPr>
            <p:ph sz="quarter" idx="27"/>
          </p:nvPr>
        </p:nvSpPr>
        <p:spPr>
          <a:xfrm>
            <a:off x="2551113" y="1211263"/>
            <a:ext cx="420687" cy="25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47">
            <a:extLst>
              <a:ext uri="{FF2B5EF4-FFF2-40B4-BE49-F238E27FC236}">
                <a16:creationId xmlns:a16="http://schemas.microsoft.com/office/drawing/2014/main" id="{4453F7DB-93C6-473B-8869-F49731FA7621}"/>
              </a:ext>
            </a:extLst>
          </p:cNvPr>
          <p:cNvSpPr>
            <a:spLocks noGrp="1"/>
          </p:cNvSpPr>
          <p:nvPr>
            <p:ph sz="quarter" idx="28"/>
          </p:nvPr>
        </p:nvSpPr>
        <p:spPr>
          <a:xfrm>
            <a:off x="3862388" y="635000"/>
            <a:ext cx="1022350" cy="627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 name="Content Placeholder 49">
            <a:extLst>
              <a:ext uri="{FF2B5EF4-FFF2-40B4-BE49-F238E27FC236}">
                <a16:creationId xmlns:a16="http://schemas.microsoft.com/office/drawing/2014/main" id="{AAD1128B-0253-4045-95A1-0421003F592F}"/>
              </a:ext>
            </a:extLst>
          </p:cNvPr>
          <p:cNvSpPr>
            <a:spLocks noGrp="1"/>
          </p:cNvSpPr>
          <p:nvPr>
            <p:ph sz="quarter" idx="29"/>
          </p:nvPr>
        </p:nvSpPr>
        <p:spPr>
          <a:xfrm>
            <a:off x="112713" y="171450"/>
            <a:ext cx="1060450" cy="482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1" name="Table 37">
            <a:extLst>
              <a:ext uri="{FF2B5EF4-FFF2-40B4-BE49-F238E27FC236}">
                <a16:creationId xmlns:a16="http://schemas.microsoft.com/office/drawing/2014/main" id="{847A721B-9C80-4991-851C-9CAC123DB827}"/>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685646656"/>
              </p:ext>
            </p:extLst>
          </p:nvPr>
        </p:nvGraphicFramePr>
        <p:xfrm>
          <a:off x="2140646" y="3742933"/>
          <a:ext cx="8688190"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345496">
                  <a:extLst>
                    <a:ext uri="{9D8B030D-6E8A-4147-A177-3AD203B41FA5}">
                      <a16:colId xmlns:a16="http://schemas.microsoft.com/office/drawing/2014/main" val="3698978501"/>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noProof="0">
                        <a:solidFill>
                          <a:schemeClr val="bg1"/>
                        </a:solidFill>
                        <a:latin typeface="+mn-lt"/>
                        <a:ea typeface="+mn-ea"/>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sp>
        <p:nvSpPr>
          <p:cNvPr id="53" name="Content Placeholder 52">
            <a:extLst>
              <a:ext uri="{FF2B5EF4-FFF2-40B4-BE49-F238E27FC236}">
                <a16:creationId xmlns:a16="http://schemas.microsoft.com/office/drawing/2014/main" id="{2DA7709D-7973-40DA-9ADE-45ED0C7C9D48}"/>
              </a:ext>
            </a:extLst>
          </p:cNvPr>
          <p:cNvSpPr>
            <a:spLocks noGrp="1"/>
          </p:cNvSpPr>
          <p:nvPr>
            <p:ph sz="quarter" idx="30"/>
          </p:nvPr>
        </p:nvSpPr>
        <p:spPr>
          <a:xfrm>
            <a:off x="4686300" y="2019300"/>
            <a:ext cx="2819400" cy="53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54">
            <a:extLst>
              <a:ext uri="{FF2B5EF4-FFF2-40B4-BE49-F238E27FC236}">
                <a16:creationId xmlns:a16="http://schemas.microsoft.com/office/drawing/2014/main" id="{7769DB1A-B831-4C99-8549-88BE47D9F151}"/>
              </a:ext>
            </a:extLst>
          </p:cNvPr>
          <p:cNvSpPr>
            <a:spLocks noGrp="1"/>
          </p:cNvSpPr>
          <p:nvPr>
            <p:ph sz="quarter" idx="31"/>
          </p:nvPr>
        </p:nvSpPr>
        <p:spPr>
          <a:xfrm>
            <a:off x="4075113" y="2755900"/>
            <a:ext cx="1468437" cy="79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56">
            <a:extLst>
              <a:ext uri="{FF2B5EF4-FFF2-40B4-BE49-F238E27FC236}">
                <a16:creationId xmlns:a16="http://schemas.microsoft.com/office/drawing/2014/main" id="{F31BEC3E-3567-42DC-92EB-AEEF46F25D1F}"/>
              </a:ext>
            </a:extLst>
          </p:cNvPr>
          <p:cNvSpPr>
            <a:spLocks noGrp="1"/>
          </p:cNvSpPr>
          <p:nvPr>
            <p:ph sz="quarter" idx="32"/>
          </p:nvPr>
        </p:nvSpPr>
        <p:spPr>
          <a:xfrm>
            <a:off x="6096000" y="3594100"/>
            <a:ext cx="1828800" cy="82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Content Placeholder 58">
            <a:extLst>
              <a:ext uri="{FF2B5EF4-FFF2-40B4-BE49-F238E27FC236}">
                <a16:creationId xmlns:a16="http://schemas.microsoft.com/office/drawing/2014/main" id="{86706F03-70A2-4636-9308-14EC579BDF95}"/>
              </a:ext>
            </a:extLst>
          </p:cNvPr>
          <p:cNvSpPr>
            <a:spLocks noGrp="1"/>
          </p:cNvSpPr>
          <p:nvPr>
            <p:ph sz="quarter" idx="33"/>
          </p:nvPr>
        </p:nvSpPr>
        <p:spPr>
          <a:xfrm>
            <a:off x="4495800" y="3883025"/>
            <a:ext cx="1385888"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Content Placeholder 60">
            <a:extLst>
              <a:ext uri="{FF2B5EF4-FFF2-40B4-BE49-F238E27FC236}">
                <a16:creationId xmlns:a16="http://schemas.microsoft.com/office/drawing/2014/main" id="{62FF1A30-8E25-4AF7-88C8-3868E301ED15}"/>
              </a:ext>
            </a:extLst>
          </p:cNvPr>
          <p:cNvSpPr>
            <a:spLocks noGrp="1"/>
          </p:cNvSpPr>
          <p:nvPr>
            <p:ph sz="quarter" idx="34"/>
          </p:nvPr>
        </p:nvSpPr>
        <p:spPr>
          <a:xfrm>
            <a:off x="8139113" y="3673475"/>
            <a:ext cx="1293812" cy="654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Content Placeholder 62">
            <a:extLst>
              <a:ext uri="{FF2B5EF4-FFF2-40B4-BE49-F238E27FC236}">
                <a16:creationId xmlns:a16="http://schemas.microsoft.com/office/drawing/2014/main" id="{6041ED19-A906-4FC5-BD80-770FBD35531D}"/>
              </a:ext>
            </a:extLst>
          </p:cNvPr>
          <p:cNvSpPr>
            <a:spLocks noGrp="1"/>
          </p:cNvSpPr>
          <p:nvPr>
            <p:ph sz="quarter" idx="35"/>
          </p:nvPr>
        </p:nvSpPr>
        <p:spPr>
          <a:xfrm>
            <a:off x="7772400" y="1854200"/>
            <a:ext cx="1962150" cy="1120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Content Placeholder 64">
            <a:extLst>
              <a:ext uri="{FF2B5EF4-FFF2-40B4-BE49-F238E27FC236}">
                <a16:creationId xmlns:a16="http://schemas.microsoft.com/office/drawing/2014/main" id="{91A86731-BEAF-4C04-90F3-5D42D36D19B1}"/>
              </a:ext>
            </a:extLst>
          </p:cNvPr>
          <p:cNvSpPr>
            <a:spLocks noGrp="1"/>
          </p:cNvSpPr>
          <p:nvPr>
            <p:ph sz="quarter" idx="36"/>
          </p:nvPr>
        </p:nvSpPr>
        <p:spPr>
          <a:xfrm>
            <a:off x="2695575" y="3673475"/>
            <a:ext cx="1852613"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Content Placeholder 66">
            <a:extLst>
              <a:ext uri="{FF2B5EF4-FFF2-40B4-BE49-F238E27FC236}">
                <a16:creationId xmlns:a16="http://schemas.microsoft.com/office/drawing/2014/main" id="{0A72E7AD-9526-477B-97F1-012A28B56DFF}"/>
              </a:ext>
            </a:extLst>
          </p:cNvPr>
          <p:cNvSpPr>
            <a:spLocks noGrp="1"/>
          </p:cNvSpPr>
          <p:nvPr>
            <p:ph sz="quarter" idx="37"/>
          </p:nvPr>
        </p:nvSpPr>
        <p:spPr>
          <a:xfrm>
            <a:off x="6667500" y="4684713"/>
            <a:ext cx="2133600" cy="82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Content Placeholder 68">
            <a:extLst>
              <a:ext uri="{FF2B5EF4-FFF2-40B4-BE49-F238E27FC236}">
                <a16:creationId xmlns:a16="http://schemas.microsoft.com/office/drawing/2014/main" id="{A8C6FE72-4B14-40A0-809B-01402930D684}"/>
              </a:ext>
            </a:extLst>
          </p:cNvPr>
          <p:cNvSpPr>
            <a:spLocks noGrp="1"/>
          </p:cNvSpPr>
          <p:nvPr>
            <p:ph sz="quarter" idx="38"/>
          </p:nvPr>
        </p:nvSpPr>
        <p:spPr>
          <a:xfrm>
            <a:off x="9432925" y="4364038"/>
            <a:ext cx="960438" cy="661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0" name="Table 37">
            <a:extLst>
              <a:ext uri="{FF2B5EF4-FFF2-40B4-BE49-F238E27FC236}">
                <a16:creationId xmlns:a16="http://schemas.microsoft.com/office/drawing/2014/main" id="{282AA926-6485-4FB0-88F0-BD9BA51F1B6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295721881"/>
              </p:ext>
            </p:extLst>
          </p:nvPr>
        </p:nvGraphicFramePr>
        <p:xfrm>
          <a:off x="2389438" y="5147871"/>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spTree>
    <p:extLst>
      <p:ext uri="{BB962C8B-B14F-4D97-AF65-F5344CB8AC3E}">
        <p14:creationId xmlns:p14="http://schemas.microsoft.com/office/powerpoint/2010/main" val="3719035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rIns="274320" bIns="3200400" anchor="b" anchorCtr="0">
            <a:noAutofit/>
          </a:bodyPr>
          <a:lstStyle>
            <a:lvl1pPr marL="571500" indent="0">
              <a:defRPr sz="3200">
                <a:solidFill>
                  <a:srgbClr val="50E6FF"/>
                </a:solidFill>
              </a:defRPr>
            </a:lvl1pPr>
          </a:lstStyle>
          <a:p>
            <a:r>
              <a:rPr lang="en-US"/>
              <a:t>Add title of presentation</a:t>
            </a:r>
          </a:p>
        </p:txBody>
      </p:sp>
      <p:sp>
        <p:nvSpPr>
          <p:cNvPr id="5" name="Text Placeholder 4"/>
          <p:cNvSpPr>
            <a:spLocks noGrp="1"/>
          </p:cNvSpPr>
          <p:nvPr>
            <p:ph type="body" sz="quarter" idx="12" hasCustomPrompt="1"/>
          </p:nvPr>
        </p:nvSpPr>
        <p:spPr>
          <a:xfrm>
            <a:off x="582042" y="3962400"/>
            <a:ext cx="3123479" cy="677108"/>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14" name="Picture Placeholder 13">
            <a:extLst>
              <a:ext uri="{FF2B5EF4-FFF2-40B4-BE49-F238E27FC236}">
                <a16:creationId xmlns:a16="http://schemas.microsoft.com/office/drawing/2014/main" id="{418C3231-944D-421F-96BB-FBA75991A696}"/>
              </a:ext>
            </a:extLst>
          </p:cNvPr>
          <p:cNvSpPr>
            <a:spLocks noGrp="1"/>
          </p:cNvSpPr>
          <p:nvPr>
            <p:ph type="pic" sz="quarter" idx="17" hasCustomPrompt="1"/>
          </p:nvPr>
        </p:nvSpPr>
        <p:spPr>
          <a:xfrm>
            <a:off x="312739" y="320305"/>
            <a:ext cx="2452392" cy="804797"/>
          </a:xfrm>
          <a:blipFill>
            <a:blip r:embed="rId3" cstate="screen">
              <a:extLst>
                <a:ext uri="{28A0092B-C50C-407E-A947-70E740481C1C}">
                  <a14:useLocalDpi xmlns:a14="http://schemas.microsoft.com/office/drawing/2010/main"/>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950B0707-D45B-4CBC-86C1-25B9C7237ECF}"/>
              </a:ext>
            </a:extLst>
          </p:cNvPr>
          <p:cNvSpPr>
            <a:spLocks noGrp="1"/>
          </p:cNvSpPr>
          <p:nvPr>
            <p:ph type="dt" sz="half" idx="18"/>
          </p:nvPr>
        </p:nvSpPr>
        <p:spPr/>
        <p:txBody>
          <a:bodyPr/>
          <a:lstStyle/>
          <a:p>
            <a:r>
              <a:rPr lang="en-US"/>
              <a:t>CONFIDENTIAL</a:t>
            </a:r>
          </a:p>
        </p:txBody>
      </p:sp>
      <p:sp>
        <p:nvSpPr>
          <p:cNvPr id="6" name="Footer Placeholder 5">
            <a:extLst>
              <a:ext uri="{FF2B5EF4-FFF2-40B4-BE49-F238E27FC236}">
                <a16:creationId xmlns:a16="http://schemas.microsoft.com/office/drawing/2014/main" id="{8EBF9191-1CCD-43D4-9F5B-9D1CBE199F66}"/>
              </a:ext>
            </a:extLst>
          </p:cNvPr>
          <p:cNvSpPr>
            <a:spLocks noGrp="1"/>
          </p:cNvSpPr>
          <p:nvPr>
            <p:ph type="ftr" sz="quarter" idx="19"/>
          </p:nvPr>
        </p:nvSpPr>
        <p:spPr/>
        <p:txBody>
          <a:bodyPr/>
          <a:lstStyle/>
          <a:p>
            <a:r>
              <a:rPr lang="en-US"/>
              <a:t>Microsoft Azure | Cognitive Services</a:t>
            </a:r>
          </a:p>
        </p:txBody>
      </p:sp>
      <p:sp>
        <p:nvSpPr>
          <p:cNvPr id="7" name="Slide Number Placeholder 6">
            <a:extLst>
              <a:ext uri="{FF2B5EF4-FFF2-40B4-BE49-F238E27FC236}">
                <a16:creationId xmlns:a16="http://schemas.microsoft.com/office/drawing/2014/main" id="{346F3148-3068-4C7B-ADD2-9D6B1C172681}"/>
              </a:ext>
            </a:extLst>
          </p:cNvPr>
          <p:cNvSpPr>
            <a:spLocks noGrp="1"/>
          </p:cNvSpPr>
          <p:nvPr>
            <p:ph type="sldNum" sz="quarter" idx="20"/>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17531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524000"/>
            <a:ext cx="110188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p>
            <a:r>
              <a:rPr lang="en-US"/>
              <a:t>CONFIDENTIAL</a:t>
            </a: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940218474"/>
      </p:ext>
    </p:extLst>
  </p:cSld>
  <p:clrMapOvr>
    <a:masterClrMapping/>
  </p:clrMapOvr>
  <p:transition>
    <p:fade/>
  </p:transition>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2-Columns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p>
            <a:r>
              <a:rPr lang="en-US"/>
              <a:t>CONFIDENTIAL</a:t>
            </a: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p>
            <a:fld id="{92952735-9F7B-40AF-A7B3-40E1B5550C31}" type="slidenum">
              <a:rPr lang="en-US" smtClean="0"/>
              <a:pPr/>
              <a:t>‹#›</a:t>
            </a:fld>
            <a:endParaRPr lang="en-US"/>
          </a:p>
        </p:txBody>
      </p:sp>
      <p:sp>
        <p:nvSpPr>
          <p:cNvPr id="8" name="Content Placeholder 3">
            <a:extLst>
              <a:ext uri="{FF2B5EF4-FFF2-40B4-BE49-F238E27FC236}">
                <a16:creationId xmlns:a16="http://schemas.microsoft.com/office/drawing/2014/main" id="{43673F93-78AF-4884-AB97-BC317FAB52C1}"/>
              </a:ext>
            </a:extLst>
          </p:cNvPr>
          <p:cNvSpPr>
            <a:spLocks noGrp="1"/>
          </p:cNvSpPr>
          <p:nvPr>
            <p:ph sz="quarter" idx="18" hasCustomPrompt="1"/>
          </p:nvPr>
        </p:nvSpPr>
        <p:spPr>
          <a:xfrm>
            <a:off x="584200" y="1524000"/>
            <a:ext cx="53673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4A1B8080-1F87-441A-82B5-77E7C02EA3AB}"/>
              </a:ext>
            </a:extLst>
          </p:cNvPr>
          <p:cNvSpPr>
            <a:spLocks noGrp="1"/>
          </p:cNvSpPr>
          <p:nvPr>
            <p:ph sz="quarter" idx="19" hasCustomPrompt="1"/>
          </p:nvPr>
        </p:nvSpPr>
        <p:spPr>
          <a:xfrm>
            <a:off x="6240464" y="1524000"/>
            <a:ext cx="53673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840483"/>
      </p:ext>
    </p:extLst>
  </p:cSld>
  <p:clrMapOvr>
    <a:masterClrMapping/>
  </p:clrMapOvr>
  <p:transition>
    <p:fade/>
  </p:transition>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r>
              <a:rPr lang="en-US"/>
              <a:t>CONFIDENTIAL</a:t>
            </a:r>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069829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Subitle Dark Gra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8B3C7-7637-4F9D-9EE2-E834C37A592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923C46A-DFE3-4109-B5B8-3E5C6C04A4FF}"/>
              </a:ext>
            </a:extLst>
          </p:cNvPr>
          <p:cNvSpPr>
            <a:spLocks noGrp="1"/>
          </p:cNvSpPr>
          <p:nvPr>
            <p:ph type="body" sz="quarter" idx="13"/>
          </p:nvPr>
        </p:nvSpPr>
        <p:spPr>
          <a:xfrm>
            <a:off x="584200" y="885724"/>
            <a:ext cx="2787173" cy="246221"/>
          </a:xfrm>
        </p:spPr>
        <p:txBody>
          <a:bodyPr wrap="none">
            <a:spAutoFit/>
          </a:bodyPr>
          <a:lstStyle>
            <a:lvl1pPr>
              <a:defRPr sz="1600">
                <a:solidFill>
                  <a:schemeClr val="tx1"/>
                </a:solid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36FE8040-93E6-4C97-A95F-76182C6371DE}"/>
              </a:ext>
            </a:extLst>
          </p:cNvPr>
          <p:cNvSpPr>
            <a:spLocks noGrp="1"/>
          </p:cNvSpPr>
          <p:nvPr>
            <p:ph type="dt" sz="half" idx="14"/>
          </p:nvPr>
        </p:nvSpPr>
        <p:spPr/>
        <p:txBody>
          <a:bodyPr/>
          <a:lstStyle/>
          <a:p>
            <a:r>
              <a:rPr lang="en-US"/>
              <a:t>CONFIDENTIAL</a:t>
            </a:r>
          </a:p>
        </p:txBody>
      </p:sp>
      <p:sp>
        <p:nvSpPr>
          <p:cNvPr id="4" name="Footer Placeholder 3">
            <a:extLst>
              <a:ext uri="{FF2B5EF4-FFF2-40B4-BE49-F238E27FC236}">
                <a16:creationId xmlns:a16="http://schemas.microsoft.com/office/drawing/2014/main" id="{A6258772-A7CF-4F40-8542-CDDCD5152E69}"/>
              </a:ext>
            </a:extLst>
          </p:cNvPr>
          <p:cNvSpPr>
            <a:spLocks noGrp="1"/>
          </p:cNvSpPr>
          <p:nvPr>
            <p:ph type="ftr" sz="quarter" idx="15"/>
          </p:nvPr>
        </p:nvSpPr>
        <p:spPr/>
        <p:txBody>
          <a:bodyPr/>
          <a:lstStyle/>
          <a:p>
            <a:r>
              <a:rPr lang="en-US"/>
              <a:t>Microsoft Azure | Cognitive Services</a:t>
            </a:r>
          </a:p>
        </p:txBody>
      </p:sp>
      <p:sp>
        <p:nvSpPr>
          <p:cNvPr id="9" name="Slide Number Placeholder 8">
            <a:extLst>
              <a:ext uri="{FF2B5EF4-FFF2-40B4-BE49-F238E27FC236}">
                <a16:creationId xmlns:a16="http://schemas.microsoft.com/office/drawing/2014/main" id="{E17C5F25-FC78-4AC8-B664-402A7D2E4050}"/>
              </a:ext>
            </a:extLst>
          </p:cNvPr>
          <p:cNvSpPr>
            <a:spLocks noGrp="1"/>
          </p:cNvSpPr>
          <p:nvPr>
            <p:ph type="sldNum" sz="quarter" idx="16"/>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831814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33439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Divider Dark Gra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chemeClr val="accent2"/>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92443"/>
          </a:xfrm>
          <a:noFill/>
        </p:spPr>
        <p:txBody>
          <a:bodyPr wrap="square" lIns="0" tIns="0" rIns="0" bIns="0">
            <a:spAutoFit/>
          </a:bodyPr>
          <a:lstStyle>
            <a:lvl1pPr marL="0" indent="0">
              <a:spcBef>
                <a:spcPts val="0"/>
              </a:spcBef>
              <a:buNone/>
              <a:defRPr sz="3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peaker name or subtitle text here</a:t>
            </a:r>
          </a:p>
        </p:txBody>
      </p:sp>
      <p:sp>
        <p:nvSpPr>
          <p:cNvPr id="6" name="Date Placeholder 5">
            <a:extLst>
              <a:ext uri="{FF2B5EF4-FFF2-40B4-BE49-F238E27FC236}">
                <a16:creationId xmlns:a16="http://schemas.microsoft.com/office/drawing/2014/main" id="{1CF3FB02-F964-4428-9C01-2242BEE91065}"/>
              </a:ext>
            </a:extLst>
          </p:cNvPr>
          <p:cNvSpPr>
            <a:spLocks noGrp="1"/>
          </p:cNvSpPr>
          <p:nvPr>
            <p:ph type="dt" sz="half" idx="13"/>
          </p:nvPr>
        </p:nvSpPr>
        <p:spPr/>
        <p:txBody>
          <a:bodyPr/>
          <a:lstStyle/>
          <a:p>
            <a:r>
              <a:rPr lang="en-US"/>
              <a:t>CONFIDENTIAL</a:t>
            </a:r>
          </a:p>
        </p:txBody>
      </p:sp>
      <p:sp>
        <p:nvSpPr>
          <p:cNvPr id="7" name="Footer Placeholder 6">
            <a:extLst>
              <a:ext uri="{FF2B5EF4-FFF2-40B4-BE49-F238E27FC236}">
                <a16:creationId xmlns:a16="http://schemas.microsoft.com/office/drawing/2014/main" id="{298DC220-BA65-4189-8FBF-E1A0EC6B5ACA}"/>
              </a:ext>
            </a:extLst>
          </p:cNvPr>
          <p:cNvSpPr>
            <a:spLocks noGrp="1"/>
          </p:cNvSpPr>
          <p:nvPr>
            <p:ph type="ftr" sz="quarter" idx="14"/>
          </p:nvPr>
        </p:nvSpPr>
        <p:spPr/>
        <p:txBody>
          <a:bodyPr/>
          <a:lstStyle/>
          <a:p>
            <a:r>
              <a:rPr lang="en-US"/>
              <a:t>Microsoft Azure | Cognitive Services</a:t>
            </a:r>
          </a:p>
        </p:txBody>
      </p:sp>
      <p:sp>
        <p:nvSpPr>
          <p:cNvPr id="10" name="Slide Number Placeholder 9">
            <a:extLst>
              <a:ext uri="{FF2B5EF4-FFF2-40B4-BE49-F238E27FC236}">
                <a16:creationId xmlns:a16="http://schemas.microsoft.com/office/drawing/2014/main" id="{4A46460D-EC59-44BD-9649-985EC4BB29CD}"/>
              </a:ext>
            </a:extLst>
          </p:cNvPr>
          <p:cNvSpPr>
            <a:spLocks noGrp="1"/>
          </p:cNvSpPr>
          <p:nvPr>
            <p:ph type="sldNum" sz="quarter" idx="15"/>
          </p:nvPr>
        </p:nvSpPr>
        <p:spPr/>
        <p:txBody>
          <a:bodyPr/>
          <a:lstStyle/>
          <a:p>
            <a:fld id="{92952735-9F7B-40AF-A7B3-40E1B5550C31}" type="slidenum">
              <a:rPr lang="en-US" smtClean="0"/>
              <a:pPr/>
              <a:t>‹#›</a:t>
            </a:fld>
            <a:endParaRPr lang="en-US"/>
          </a:p>
        </p:txBody>
      </p:sp>
      <p:pic>
        <p:nvPicPr>
          <p:cNvPr id="4" name="Graphic 3">
            <a:extLst>
              <a:ext uri="{FF2B5EF4-FFF2-40B4-BE49-F238E27FC236}">
                <a16:creationId xmlns:a16="http://schemas.microsoft.com/office/drawing/2014/main" id="{5033FB88-A9CE-4F20-8609-3F9FAAEDBB8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114558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Divider White">
    <p:bg>
      <p:bgPr>
        <a:solidFill>
          <a:srgbClr val="FFFFF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chemeClr val="accent1"/>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92443"/>
          </a:xfrm>
          <a:noFill/>
        </p:spPr>
        <p:txBody>
          <a:bodyPr wrap="square" lIns="0" tIns="0" rIns="0" bIns="0">
            <a:spAutoFit/>
          </a:bodyPr>
          <a:lstStyle>
            <a:lvl1pPr marL="0" indent="0">
              <a:spcBef>
                <a:spcPts val="0"/>
              </a:spcBef>
              <a:buNone/>
              <a:defRPr sz="3200" spc="0" baseline="0">
                <a:solidFill>
                  <a:schemeClr val="bg1"/>
                </a:solidFill>
                <a:latin typeface="+mn-lt"/>
                <a:cs typeface="Segoe UI" panose="020B0502040204020203" pitchFamily="34" charset="0"/>
              </a:defRPr>
            </a:lvl1pPr>
          </a:lstStyle>
          <a:p>
            <a:pPr lvl="0"/>
            <a:r>
              <a:rPr lang="en-US"/>
              <a:t>Add speaker name or subtitle text here</a:t>
            </a:r>
          </a:p>
        </p:txBody>
      </p:sp>
      <p:sp>
        <p:nvSpPr>
          <p:cNvPr id="6" name="Date Placeholder 5">
            <a:extLst>
              <a:ext uri="{FF2B5EF4-FFF2-40B4-BE49-F238E27FC236}">
                <a16:creationId xmlns:a16="http://schemas.microsoft.com/office/drawing/2014/main" id="{1CF3FB02-F964-4428-9C01-2242BEE91065}"/>
              </a:ext>
            </a:extLst>
          </p:cNvPr>
          <p:cNvSpPr>
            <a:spLocks noGrp="1"/>
          </p:cNvSpPr>
          <p:nvPr>
            <p:ph type="dt" sz="half" idx="13"/>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7" name="Footer Placeholder 6">
            <a:extLst>
              <a:ext uri="{FF2B5EF4-FFF2-40B4-BE49-F238E27FC236}">
                <a16:creationId xmlns:a16="http://schemas.microsoft.com/office/drawing/2014/main" id="{298DC220-BA65-4189-8FBF-E1A0EC6B5ACA}"/>
              </a:ext>
            </a:extLst>
          </p:cNvPr>
          <p:cNvSpPr>
            <a:spLocks noGrp="1"/>
          </p:cNvSpPr>
          <p:nvPr>
            <p:ph type="ftr" sz="quarter" idx="14"/>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10" name="Slide Number Placeholder 9">
            <a:extLst>
              <a:ext uri="{FF2B5EF4-FFF2-40B4-BE49-F238E27FC236}">
                <a16:creationId xmlns:a16="http://schemas.microsoft.com/office/drawing/2014/main" id="{4A46460D-EC59-44BD-9649-985EC4BB29CD}"/>
              </a:ext>
            </a:extLst>
          </p:cNvPr>
          <p:cNvSpPr>
            <a:spLocks noGrp="1"/>
          </p:cNvSpPr>
          <p:nvPr>
            <p:ph type="sldNum" sz="quarter" idx="15"/>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8" name="Picture Placeholder 13">
            <a:extLst>
              <a:ext uri="{FF2B5EF4-FFF2-40B4-BE49-F238E27FC236}">
                <a16:creationId xmlns:a16="http://schemas.microsoft.com/office/drawing/2014/main" id="{355D5BC2-23AD-47F7-847D-E678AF17ADE0}"/>
              </a:ext>
            </a:extLst>
          </p:cNvPr>
          <p:cNvSpPr>
            <a:spLocks noGrp="1"/>
          </p:cNvSpPr>
          <p:nvPr>
            <p:ph type="pic" sz="quarter" idx="17" hasCustomPrompt="1"/>
          </p:nvPr>
        </p:nvSpPr>
        <p:spPr>
          <a:xfrm>
            <a:off x="312739" y="320305"/>
            <a:ext cx="2452392" cy="804797"/>
          </a:xfrm>
          <a:blipFill>
            <a:blip r:embed="rId2" cstate="screen">
              <a:extLst>
                <a:ext uri="{28A0092B-C50C-407E-A947-70E740481C1C}">
                  <a14:useLocalDpi xmlns:a14="http://schemas.microsoft.com/office/drawing/2010/main"/>
                </a:ext>
              </a:extLst>
            </a:blip>
            <a:stretch>
              <a:fillRect/>
            </a:stretch>
          </a:blipFill>
        </p:spPr>
        <p:txBody>
          <a:bodyPr/>
          <a:lstStyle/>
          <a:p>
            <a:r>
              <a:rPr lang="en-US"/>
              <a:t> </a:t>
            </a:r>
          </a:p>
        </p:txBody>
      </p:sp>
    </p:spTree>
    <p:extLst>
      <p:ext uri="{BB962C8B-B14F-4D97-AF65-F5344CB8AC3E}">
        <p14:creationId xmlns:p14="http://schemas.microsoft.com/office/powerpoint/2010/main" val="134341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Divider Blue">
    <p:bg>
      <p:bgPr>
        <a:solidFill>
          <a:srgbClr val="00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rgbClr val="FFFFFF"/>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30887"/>
          </a:xfrm>
          <a:noFill/>
        </p:spPr>
        <p:txBody>
          <a:bodyPr wrap="square" lIns="0" tIns="0" rIns="0" bIns="0">
            <a:spAutoFit/>
          </a:bodyPr>
          <a:lstStyle>
            <a:lvl1pPr marL="0" indent="0">
              <a:spcBef>
                <a:spcPts val="0"/>
              </a:spcBef>
              <a:buNone/>
              <a:defRPr sz="2800" spc="0" baseline="0">
                <a:gradFill>
                  <a:gsLst>
                    <a:gs pos="100000">
                      <a:schemeClr val="tx1"/>
                    </a:gs>
                    <a:gs pos="0">
                      <a:schemeClr val="tx1"/>
                    </a:gs>
                  </a:gsLst>
                  <a:lin ang="5400000" scaled="0"/>
                </a:gradFill>
                <a:latin typeface="+mn-lt"/>
                <a:cs typeface="Segoe UI" panose="020B0502040204020203" pitchFamily="34" charset="0"/>
              </a:defRPr>
            </a:lvl1pPr>
          </a:lstStyle>
          <a:p>
            <a:pPr lvl="0"/>
            <a:r>
              <a:rPr lang="en-US"/>
              <a:t>Add speaker name or subtitle text here</a:t>
            </a:r>
          </a:p>
        </p:txBody>
      </p:sp>
      <p:sp>
        <p:nvSpPr>
          <p:cNvPr id="3" name="Date Placeholder 2">
            <a:extLst>
              <a:ext uri="{FF2B5EF4-FFF2-40B4-BE49-F238E27FC236}">
                <a16:creationId xmlns:a16="http://schemas.microsoft.com/office/drawing/2014/main" id="{E0104A9F-8F18-4FB8-9C4C-47C5B26B2419}"/>
              </a:ext>
            </a:extLst>
          </p:cNvPr>
          <p:cNvSpPr>
            <a:spLocks noGrp="1"/>
          </p:cNvSpPr>
          <p:nvPr>
            <p:ph type="dt" sz="half" idx="13"/>
          </p:nvPr>
        </p:nvSpPr>
        <p:spPr/>
        <p:txBody>
          <a:bodyPr/>
          <a:lstStyle/>
          <a:p>
            <a:r>
              <a:rPr lang="en-US"/>
              <a:t>CONFIDENTIAL</a:t>
            </a:r>
          </a:p>
        </p:txBody>
      </p:sp>
      <p:sp>
        <p:nvSpPr>
          <p:cNvPr id="4" name="Footer Placeholder 3">
            <a:extLst>
              <a:ext uri="{FF2B5EF4-FFF2-40B4-BE49-F238E27FC236}">
                <a16:creationId xmlns:a16="http://schemas.microsoft.com/office/drawing/2014/main" id="{F7E178E6-6406-49E3-BB70-E3628CA74031}"/>
              </a:ext>
            </a:extLst>
          </p:cNvPr>
          <p:cNvSpPr>
            <a:spLocks noGrp="1"/>
          </p:cNvSpPr>
          <p:nvPr>
            <p:ph type="ftr" sz="quarter" idx="14"/>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C05F989-FCAC-405B-9973-CC72653A58ED}"/>
              </a:ext>
            </a:extLst>
          </p:cNvPr>
          <p:cNvSpPr>
            <a:spLocks noGrp="1"/>
          </p:cNvSpPr>
          <p:nvPr>
            <p:ph type="sldNum" sz="quarter" idx="15"/>
          </p:nvPr>
        </p:nvSpPr>
        <p:spPr/>
        <p:txBody>
          <a:bodyPr/>
          <a:lstStyle/>
          <a:p>
            <a:fld id="{92952735-9F7B-40AF-A7B3-40E1B5550C31}" type="slidenum">
              <a:rPr lang="en-US" smtClean="0"/>
              <a:pPr/>
              <a:t>‹#›</a:t>
            </a:fld>
            <a:endParaRPr lang="en-US"/>
          </a:p>
        </p:txBody>
      </p:sp>
      <p:pic>
        <p:nvPicPr>
          <p:cNvPr id="7" name="Graphic 6">
            <a:extLst>
              <a:ext uri="{FF2B5EF4-FFF2-40B4-BE49-F238E27FC236}">
                <a16:creationId xmlns:a16="http://schemas.microsoft.com/office/drawing/2014/main" id="{D31750F9-3762-4D9D-AD4D-17F9A239B4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963225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Dark Gra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C72EC3-5445-4379-B098-FC5F34402FD0}"/>
              </a:ext>
            </a:extLst>
          </p:cNvPr>
          <p:cNvSpPr>
            <a:spLocks noGrp="1"/>
          </p:cNvSpPr>
          <p:nvPr>
            <p:ph type="dt" sz="half" idx="10"/>
          </p:nvPr>
        </p:nvSpPr>
        <p:spPr/>
        <p:txBody>
          <a:bodyPr/>
          <a:lstStyle/>
          <a:p>
            <a:r>
              <a:rPr lang="en-US"/>
              <a:t>CONFIDENTIAL</a:t>
            </a:r>
          </a:p>
        </p:txBody>
      </p:sp>
      <p:sp>
        <p:nvSpPr>
          <p:cNvPr id="6" name="Footer Placeholder 5">
            <a:extLst>
              <a:ext uri="{FF2B5EF4-FFF2-40B4-BE49-F238E27FC236}">
                <a16:creationId xmlns:a16="http://schemas.microsoft.com/office/drawing/2014/main" id="{85302F66-1E47-4DE6-84C9-4446A48FAFE2}"/>
              </a:ext>
            </a:extLst>
          </p:cNvPr>
          <p:cNvSpPr>
            <a:spLocks noGrp="1"/>
          </p:cNvSpPr>
          <p:nvPr>
            <p:ph type="ftr" sz="quarter" idx="11"/>
          </p:nvPr>
        </p:nvSpPr>
        <p:spPr/>
        <p:txBody>
          <a:bodyPr/>
          <a:lstStyle/>
          <a:p>
            <a:r>
              <a:rPr lang="en-US"/>
              <a:t>Microsoft Azure | Cognitive Services</a:t>
            </a:r>
          </a:p>
        </p:txBody>
      </p:sp>
      <p:sp>
        <p:nvSpPr>
          <p:cNvPr id="7" name="Slide Number Placeholder 6">
            <a:extLst>
              <a:ext uri="{FF2B5EF4-FFF2-40B4-BE49-F238E27FC236}">
                <a16:creationId xmlns:a16="http://schemas.microsoft.com/office/drawing/2014/main" id="{9CBFA137-FEE2-4BA5-B567-5E35ACA19D04}"/>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162564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rgbClr val="FFFFFF"/>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C72EC3-5445-4379-B098-FC5F34402FD0}"/>
              </a:ext>
            </a:extLst>
          </p:cNvPr>
          <p:cNvSpPr>
            <a:spLocks noGrp="1"/>
          </p:cNvSpPr>
          <p:nvPr>
            <p:ph type="dt" sz="half" idx="10"/>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6" name="Footer Placeholder 5">
            <a:extLst>
              <a:ext uri="{FF2B5EF4-FFF2-40B4-BE49-F238E27FC236}">
                <a16:creationId xmlns:a16="http://schemas.microsoft.com/office/drawing/2014/main" id="{85302F66-1E47-4DE6-84C9-4446A48FAFE2}"/>
              </a:ext>
            </a:extLst>
          </p:cNvPr>
          <p:cNvSpPr>
            <a:spLocks noGrp="1"/>
          </p:cNvSpPr>
          <p:nvPr>
            <p:ph type="ftr" sz="quarter" idx="11"/>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7" name="Slide Number Placeholder 6">
            <a:extLst>
              <a:ext uri="{FF2B5EF4-FFF2-40B4-BE49-F238E27FC236}">
                <a16:creationId xmlns:a16="http://schemas.microsoft.com/office/drawing/2014/main" id="{9CBFA137-FEE2-4BA5-B567-5E35ACA19D04}"/>
              </a:ext>
            </a:extLst>
          </p:cNvPr>
          <p:cNvSpPr>
            <a:spLocks noGrp="1"/>
          </p:cNvSpPr>
          <p:nvPr>
            <p:ph type="sldNum" sz="quarter" idx="12"/>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10761342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A90EBF2D-338A-4882-A674-C6994664EC03}"/>
              </a:ext>
            </a:extLst>
          </p:cNvPr>
          <p:cNvSpPr>
            <a:spLocks noGrp="1"/>
          </p:cNvSpPr>
          <p:nvPr>
            <p:ph type="media" sz="quarter" idx="13"/>
          </p:nvPr>
        </p:nvSpPr>
        <p:spPr>
          <a:xfrm>
            <a:off x="0" y="0"/>
            <a:ext cx="12192000" cy="6858000"/>
          </a:xfrm>
          <a:solidFill>
            <a:srgbClr val="1A1A1F"/>
          </a:solidFill>
        </p:spPr>
        <p:txBody>
          <a:bodyPr tIns="731520" anchor="ctr"/>
          <a:lstStyle>
            <a:lvl1pPr algn="ctr">
              <a:defRPr>
                <a:solidFill>
                  <a:schemeClr val="tx1">
                    <a:alpha val="50000"/>
                  </a:schemeClr>
                </a:solidFill>
              </a:defRPr>
            </a:lvl1pPr>
          </a:lstStyle>
          <a:p>
            <a:r>
              <a:rPr lang="en-US"/>
              <a:t>Click icon to add media</a:t>
            </a:r>
          </a:p>
        </p:txBody>
      </p:sp>
      <p:sp>
        <p:nvSpPr>
          <p:cNvPr id="2" name="Date Placeholder 1">
            <a:extLst>
              <a:ext uri="{FF2B5EF4-FFF2-40B4-BE49-F238E27FC236}">
                <a16:creationId xmlns:a16="http://schemas.microsoft.com/office/drawing/2014/main" id="{EBB31DD4-934F-43AA-A672-95B22517BC87}"/>
              </a:ext>
            </a:extLst>
          </p:cNvPr>
          <p:cNvSpPr>
            <a:spLocks noGrp="1"/>
          </p:cNvSpPr>
          <p:nvPr>
            <p:ph type="dt" sz="half" idx="14"/>
          </p:nvPr>
        </p:nvSpPr>
        <p:spPr/>
        <p:txBody>
          <a:bodyPr/>
          <a:lstStyle/>
          <a:p>
            <a:r>
              <a:rPr lang="en-US"/>
              <a:t>CONFIDENTIAL</a:t>
            </a:r>
          </a:p>
        </p:txBody>
      </p:sp>
      <p:sp>
        <p:nvSpPr>
          <p:cNvPr id="3" name="Footer Placeholder 2">
            <a:extLst>
              <a:ext uri="{FF2B5EF4-FFF2-40B4-BE49-F238E27FC236}">
                <a16:creationId xmlns:a16="http://schemas.microsoft.com/office/drawing/2014/main" id="{F3048B6C-1731-45B1-A953-3EF209FB1E70}"/>
              </a:ext>
            </a:extLst>
          </p:cNvPr>
          <p:cNvSpPr>
            <a:spLocks noGrp="1"/>
          </p:cNvSpPr>
          <p:nvPr>
            <p:ph type="ftr" sz="quarter" idx="15"/>
          </p:nvPr>
        </p:nvSpPr>
        <p:spPr/>
        <p:txBody>
          <a:bodyPr/>
          <a:lstStyle/>
          <a:p>
            <a:r>
              <a:rPr lang="en-US"/>
              <a:t>Microsoft Azure | Cognitive Services</a:t>
            </a:r>
          </a:p>
        </p:txBody>
      </p:sp>
      <p:sp>
        <p:nvSpPr>
          <p:cNvPr id="4" name="Slide Number Placeholder 3">
            <a:extLst>
              <a:ext uri="{FF2B5EF4-FFF2-40B4-BE49-F238E27FC236}">
                <a16:creationId xmlns:a16="http://schemas.microsoft.com/office/drawing/2014/main" id="{9095730D-8917-4F6E-AC53-6F18E7C04261}"/>
              </a:ext>
            </a:extLst>
          </p:cNvPr>
          <p:cNvSpPr>
            <a:spLocks noGrp="1"/>
          </p:cNvSpPr>
          <p:nvPr>
            <p:ph type="sldNum" sz="quarter" idx="16"/>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32070245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pillar metrics Dark Gray">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F699A688-8F8B-45BD-99D1-6B3A810A5B25}"/>
              </a:ext>
            </a:extLst>
          </p:cNvPr>
          <p:cNvSpPr>
            <a:spLocks noGrp="1"/>
          </p:cNvSpPr>
          <p:nvPr>
            <p:ph type="body" sz="quarter" idx="14" hasCustomPrompt="1"/>
          </p:nvPr>
        </p:nvSpPr>
        <p:spPr>
          <a:xfrm>
            <a:off x="4358641" y="1524000"/>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9" name="Text Placeholder 24">
            <a:extLst>
              <a:ext uri="{FF2B5EF4-FFF2-40B4-BE49-F238E27FC236}">
                <a16:creationId xmlns:a16="http://schemas.microsoft.com/office/drawing/2014/main" id="{0AD0BBF9-DF47-4193-9300-CE4E568D1F3F}"/>
              </a:ext>
            </a:extLst>
          </p:cNvPr>
          <p:cNvSpPr>
            <a:spLocks noGrp="1"/>
          </p:cNvSpPr>
          <p:nvPr>
            <p:ph type="body" sz="quarter" idx="17" hasCustomPrompt="1"/>
          </p:nvPr>
        </p:nvSpPr>
        <p:spPr>
          <a:xfrm>
            <a:off x="4358641" y="2770399"/>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32" name="Text Placeholder 24">
            <a:extLst>
              <a:ext uri="{FF2B5EF4-FFF2-40B4-BE49-F238E27FC236}">
                <a16:creationId xmlns:a16="http://schemas.microsoft.com/office/drawing/2014/main" id="{E35A8436-C3D5-4D8C-A298-A1F6E6666840}"/>
              </a:ext>
            </a:extLst>
          </p:cNvPr>
          <p:cNvSpPr>
            <a:spLocks noGrp="1"/>
          </p:cNvSpPr>
          <p:nvPr>
            <p:ph type="body" sz="quarter" idx="20" hasCustomPrompt="1"/>
          </p:nvPr>
        </p:nvSpPr>
        <p:spPr>
          <a:xfrm>
            <a:off x="4358641"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5" name="Text Placeholder 24">
            <a:extLst>
              <a:ext uri="{FF2B5EF4-FFF2-40B4-BE49-F238E27FC236}">
                <a16:creationId xmlns:a16="http://schemas.microsoft.com/office/drawing/2014/main" id="{81979F88-AF4E-4686-9701-BAABEF1F9691}"/>
              </a:ext>
            </a:extLst>
          </p:cNvPr>
          <p:cNvSpPr>
            <a:spLocks noGrp="1"/>
          </p:cNvSpPr>
          <p:nvPr>
            <p:ph type="body" sz="quarter" idx="23" hasCustomPrompt="1"/>
          </p:nvPr>
        </p:nvSpPr>
        <p:spPr>
          <a:xfrm>
            <a:off x="4358641"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3395417" cy="372410"/>
          </a:xfrm>
        </p:spPr>
        <p:txBody>
          <a:bodyPr wrap="none" tIns="64008"/>
          <a:lstStyle>
            <a:lvl1pPr>
              <a:defRPr sz="2000" spc="0">
                <a:latin typeface="+mj-lt"/>
                <a:cs typeface="Segoe UI" panose="020B0502040204020203" pitchFamily="34" charset="0"/>
              </a:defRPr>
            </a:lvl1pPr>
          </a:lstStyle>
          <a:p>
            <a:r>
              <a:rPr lang="en-US"/>
              <a:t>Click to edit Master title style</a:t>
            </a:r>
          </a:p>
        </p:txBody>
      </p:sp>
      <p:sp>
        <p:nvSpPr>
          <p:cNvPr id="25" name="Text Placeholder 24">
            <a:extLst>
              <a:ext uri="{FF2B5EF4-FFF2-40B4-BE49-F238E27FC236}">
                <a16:creationId xmlns:a16="http://schemas.microsoft.com/office/drawing/2014/main" id="{967FB49B-6B7D-4FC6-A2D7-855A1E4A1814}"/>
              </a:ext>
            </a:extLst>
          </p:cNvPr>
          <p:cNvSpPr>
            <a:spLocks noGrp="1"/>
          </p:cNvSpPr>
          <p:nvPr>
            <p:ph type="body" sz="quarter" idx="13" hasCustomPrompt="1"/>
          </p:nvPr>
        </p:nvSpPr>
        <p:spPr>
          <a:xfrm>
            <a:off x="590868" y="1524000"/>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7" name="Text Placeholder 24">
            <a:extLst>
              <a:ext uri="{FF2B5EF4-FFF2-40B4-BE49-F238E27FC236}">
                <a16:creationId xmlns:a16="http://schemas.microsoft.com/office/drawing/2014/main" id="{BE30F7DA-3E56-4E14-93F8-CABA82A5BA53}"/>
              </a:ext>
            </a:extLst>
          </p:cNvPr>
          <p:cNvSpPr>
            <a:spLocks noGrp="1"/>
          </p:cNvSpPr>
          <p:nvPr>
            <p:ph type="body" sz="quarter" idx="15" hasCustomPrompt="1"/>
          </p:nvPr>
        </p:nvSpPr>
        <p:spPr>
          <a:xfrm>
            <a:off x="8117301" y="1524000"/>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28" name="Text Placeholder 24">
            <a:extLst>
              <a:ext uri="{FF2B5EF4-FFF2-40B4-BE49-F238E27FC236}">
                <a16:creationId xmlns:a16="http://schemas.microsoft.com/office/drawing/2014/main" id="{2606B5EF-2971-4CFC-B236-1A2E1A910C4D}"/>
              </a:ext>
            </a:extLst>
          </p:cNvPr>
          <p:cNvSpPr>
            <a:spLocks noGrp="1"/>
          </p:cNvSpPr>
          <p:nvPr>
            <p:ph type="body" sz="quarter" idx="16" hasCustomPrompt="1"/>
          </p:nvPr>
        </p:nvSpPr>
        <p:spPr>
          <a:xfrm>
            <a:off x="590868" y="2770399"/>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0" name="Text Placeholder 24">
            <a:extLst>
              <a:ext uri="{FF2B5EF4-FFF2-40B4-BE49-F238E27FC236}">
                <a16:creationId xmlns:a16="http://schemas.microsoft.com/office/drawing/2014/main" id="{8CD342FD-8FE8-4E5D-8B4B-6E8C644567B2}"/>
              </a:ext>
            </a:extLst>
          </p:cNvPr>
          <p:cNvSpPr>
            <a:spLocks noGrp="1"/>
          </p:cNvSpPr>
          <p:nvPr>
            <p:ph type="body" sz="quarter" idx="18" hasCustomPrompt="1"/>
          </p:nvPr>
        </p:nvSpPr>
        <p:spPr>
          <a:xfrm>
            <a:off x="8117301" y="2770399"/>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31" name="Text Placeholder 24">
            <a:extLst>
              <a:ext uri="{FF2B5EF4-FFF2-40B4-BE49-F238E27FC236}">
                <a16:creationId xmlns:a16="http://schemas.microsoft.com/office/drawing/2014/main" id="{BAEBF647-C418-4A9F-8CC0-E63E5095CD55}"/>
              </a:ext>
            </a:extLst>
          </p:cNvPr>
          <p:cNvSpPr>
            <a:spLocks noGrp="1"/>
          </p:cNvSpPr>
          <p:nvPr>
            <p:ph type="body" sz="quarter" idx="19" hasCustomPrompt="1"/>
          </p:nvPr>
        </p:nvSpPr>
        <p:spPr>
          <a:xfrm>
            <a:off x="590868"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3" name="Text Placeholder 24">
            <a:extLst>
              <a:ext uri="{FF2B5EF4-FFF2-40B4-BE49-F238E27FC236}">
                <a16:creationId xmlns:a16="http://schemas.microsoft.com/office/drawing/2014/main" id="{F30D6C75-5DF9-4734-BB0A-F5B34011A286}"/>
              </a:ext>
            </a:extLst>
          </p:cNvPr>
          <p:cNvSpPr>
            <a:spLocks noGrp="1"/>
          </p:cNvSpPr>
          <p:nvPr>
            <p:ph type="body" sz="quarter" idx="21" hasCustomPrompt="1"/>
          </p:nvPr>
        </p:nvSpPr>
        <p:spPr>
          <a:xfrm>
            <a:off x="8117301"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4" name="Text Placeholder 24">
            <a:extLst>
              <a:ext uri="{FF2B5EF4-FFF2-40B4-BE49-F238E27FC236}">
                <a16:creationId xmlns:a16="http://schemas.microsoft.com/office/drawing/2014/main" id="{BE1B80CA-59DE-40D8-8C1B-D35C3107392B}"/>
              </a:ext>
            </a:extLst>
          </p:cNvPr>
          <p:cNvSpPr>
            <a:spLocks noGrp="1"/>
          </p:cNvSpPr>
          <p:nvPr>
            <p:ph type="body" sz="quarter" idx="22" hasCustomPrompt="1"/>
          </p:nvPr>
        </p:nvSpPr>
        <p:spPr>
          <a:xfrm>
            <a:off x="590868"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6" name="Text Placeholder 24">
            <a:extLst>
              <a:ext uri="{FF2B5EF4-FFF2-40B4-BE49-F238E27FC236}">
                <a16:creationId xmlns:a16="http://schemas.microsoft.com/office/drawing/2014/main" id="{933C9474-5D96-473D-890E-E79980226D9E}"/>
              </a:ext>
            </a:extLst>
          </p:cNvPr>
          <p:cNvSpPr>
            <a:spLocks noGrp="1"/>
          </p:cNvSpPr>
          <p:nvPr>
            <p:ph type="body" sz="quarter" idx="24" hasCustomPrompt="1"/>
          </p:nvPr>
        </p:nvSpPr>
        <p:spPr>
          <a:xfrm>
            <a:off x="8117301"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 name="Date Placeholder 2">
            <a:extLst>
              <a:ext uri="{FF2B5EF4-FFF2-40B4-BE49-F238E27FC236}">
                <a16:creationId xmlns:a16="http://schemas.microsoft.com/office/drawing/2014/main" id="{B64B8491-6F6F-46BA-8F08-1EDAC84FEC58}"/>
              </a:ext>
            </a:extLst>
          </p:cNvPr>
          <p:cNvSpPr>
            <a:spLocks noGrp="1"/>
          </p:cNvSpPr>
          <p:nvPr>
            <p:ph type="dt" sz="half" idx="25"/>
          </p:nvPr>
        </p:nvSpPr>
        <p:spPr/>
        <p:txBody>
          <a:bodyPr/>
          <a:lstStyle/>
          <a:p>
            <a:r>
              <a:rPr lang="en-US"/>
              <a:t>CONFIDENTIAL</a:t>
            </a:r>
          </a:p>
        </p:txBody>
      </p:sp>
      <p:sp>
        <p:nvSpPr>
          <p:cNvPr id="4" name="Footer Placeholder 3">
            <a:extLst>
              <a:ext uri="{FF2B5EF4-FFF2-40B4-BE49-F238E27FC236}">
                <a16:creationId xmlns:a16="http://schemas.microsoft.com/office/drawing/2014/main" id="{2E5996C0-D9F1-4AD5-8ACC-3B922F3D136D}"/>
              </a:ext>
            </a:extLst>
          </p:cNvPr>
          <p:cNvSpPr>
            <a:spLocks noGrp="1"/>
          </p:cNvSpPr>
          <p:nvPr>
            <p:ph type="ftr" sz="quarter" idx="26"/>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53563B9C-CD74-4456-B5F7-49BDEF531F02}"/>
              </a:ext>
            </a:extLst>
          </p:cNvPr>
          <p:cNvSpPr>
            <a:spLocks noGrp="1"/>
          </p:cNvSpPr>
          <p:nvPr>
            <p:ph type="sldNum" sz="quarter" idx="27"/>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40393468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ient Logo Wal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6FD56B-6FC9-4ADB-B9F6-AC219EBB9C2E}"/>
              </a:ext>
            </a:extLst>
          </p:cNvPr>
          <p:cNvSpPr/>
          <p:nvPr userDrawn="1"/>
        </p:nvSpPr>
        <p:spPr bwMode="auto">
          <a:xfrm>
            <a:off x="2427340" y="2477184"/>
            <a:ext cx="7337320" cy="18639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Date Placeholder 2">
            <a:extLst>
              <a:ext uri="{FF2B5EF4-FFF2-40B4-BE49-F238E27FC236}">
                <a16:creationId xmlns:a16="http://schemas.microsoft.com/office/drawing/2014/main" id="{23E96967-9DE3-41ED-8660-8B4AF873273C}"/>
              </a:ext>
            </a:extLst>
          </p:cNvPr>
          <p:cNvSpPr>
            <a:spLocks noGrp="1"/>
          </p:cNvSpPr>
          <p:nvPr>
            <p:ph type="dt" sz="half" idx="10"/>
          </p:nvPr>
        </p:nvSpPr>
        <p:spPr/>
        <p:txBody>
          <a:bodyPr/>
          <a:lstStyle/>
          <a:p>
            <a:r>
              <a:rPr lang="en-US"/>
              <a:t>CONFIDENTIAL</a:t>
            </a:r>
          </a:p>
        </p:txBody>
      </p:sp>
      <p:sp>
        <p:nvSpPr>
          <p:cNvPr id="4" name="Footer Placeholder 3">
            <a:extLst>
              <a:ext uri="{FF2B5EF4-FFF2-40B4-BE49-F238E27FC236}">
                <a16:creationId xmlns:a16="http://schemas.microsoft.com/office/drawing/2014/main" id="{E15F15D0-7FC6-4192-80C9-07EBB8D982A1}"/>
              </a:ext>
            </a:extLst>
          </p:cNvPr>
          <p:cNvSpPr>
            <a:spLocks noGrp="1"/>
          </p:cNvSpPr>
          <p:nvPr>
            <p:ph type="ftr" sz="quarter" idx="11"/>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630F4CFE-3040-407D-9139-29E0070BD054}"/>
              </a:ext>
            </a:extLst>
          </p:cNvPr>
          <p:cNvSpPr>
            <a:spLocks noGrp="1"/>
          </p:cNvSpPr>
          <p:nvPr>
            <p:ph type="sldNum" sz="quarter" idx="12"/>
          </p:nvPr>
        </p:nvSpPr>
        <p:spPr/>
        <p:txBody>
          <a:bodyPr/>
          <a:lstStyle/>
          <a:p>
            <a:fld id="{92952735-9F7B-40AF-A7B3-40E1B5550C31}" type="slidenum">
              <a:rPr lang="en-US" smtClean="0"/>
              <a:pPr/>
              <a:t>‹#›</a:t>
            </a:fld>
            <a:endParaRPr lang="en-US"/>
          </a:p>
        </p:txBody>
      </p:sp>
      <p:sp>
        <p:nvSpPr>
          <p:cNvPr id="7" name="Rectangle 6">
            <a:extLst>
              <a:ext uri="{FF2B5EF4-FFF2-40B4-BE49-F238E27FC236}">
                <a16:creationId xmlns:a16="http://schemas.microsoft.com/office/drawing/2014/main" id="{90696DD9-5BE8-48F3-899A-85682DD1A8BC}"/>
              </a:ext>
            </a:extLst>
          </p:cNvPr>
          <p:cNvSpPr/>
          <p:nvPr userDrawn="1"/>
        </p:nvSpPr>
        <p:spPr bwMode="auto">
          <a:xfrm>
            <a:off x="583406"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Content Placeholder 18">
            <a:extLst>
              <a:ext uri="{FF2B5EF4-FFF2-40B4-BE49-F238E27FC236}">
                <a16:creationId xmlns:a16="http://schemas.microsoft.com/office/drawing/2014/main" id="{9A3ADF9E-5139-4806-AA62-C663CA6777DD}"/>
              </a:ext>
            </a:extLst>
          </p:cNvPr>
          <p:cNvSpPr>
            <a:spLocks noGrp="1"/>
          </p:cNvSpPr>
          <p:nvPr>
            <p:ph sz="quarter" idx="13" hasCustomPrompt="1"/>
          </p:nvPr>
        </p:nvSpPr>
        <p:spPr>
          <a:xfrm>
            <a:off x="792031" y="726785"/>
            <a:ext cx="1389062" cy="603250"/>
          </a:xfrm>
        </p:spPr>
        <p:txBody>
          <a:bodyPr anchor="ctr"/>
          <a:lstStyle>
            <a:lvl1pPr algn="ctr">
              <a:defRPr sz="1050">
                <a:solidFill>
                  <a:schemeClr val="tx1">
                    <a:lumMod val="50000"/>
                  </a:schemeClr>
                </a:solidFill>
              </a:defRPr>
            </a:lvl1pPr>
          </a:lstStyle>
          <a:p>
            <a:pPr lvl="0"/>
            <a:r>
              <a:rPr lang="en-US"/>
              <a:t>Paste client </a:t>
            </a:r>
            <a:r>
              <a:rPr lang="en-US" err="1"/>
              <a:t>logohere</a:t>
            </a:r>
            <a:endParaRPr lang="en-US"/>
          </a:p>
        </p:txBody>
      </p:sp>
      <p:sp>
        <p:nvSpPr>
          <p:cNvPr id="16" name="Rectangle 15">
            <a:extLst>
              <a:ext uri="{FF2B5EF4-FFF2-40B4-BE49-F238E27FC236}">
                <a16:creationId xmlns:a16="http://schemas.microsoft.com/office/drawing/2014/main" id="{C92DB8F7-5C52-4C40-9919-3B07C0C296E8}"/>
              </a:ext>
            </a:extLst>
          </p:cNvPr>
          <p:cNvSpPr/>
          <p:nvPr userDrawn="1"/>
        </p:nvSpPr>
        <p:spPr bwMode="auto">
          <a:xfrm>
            <a:off x="2427340"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Content Placeholder 18">
            <a:extLst>
              <a:ext uri="{FF2B5EF4-FFF2-40B4-BE49-F238E27FC236}">
                <a16:creationId xmlns:a16="http://schemas.microsoft.com/office/drawing/2014/main" id="{8C77ACFD-DB87-4563-BC6A-94181F6F363D}"/>
              </a:ext>
            </a:extLst>
          </p:cNvPr>
          <p:cNvSpPr>
            <a:spLocks noGrp="1"/>
          </p:cNvSpPr>
          <p:nvPr>
            <p:ph sz="quarter" idx="14" hasCustomPrompt="1"/>
          </p:nvPr>
        </p:nvSpPr>
        <p:spPr>
          <a:xfrm>
            <a:off x="2635965"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0" name="Rectangle 19">
            <a:extLst>
              <a:ext uri="{FF2B5EF4-FFF2-40B4-BE49-F238E27FC236}">
                <a16:creationId xmlns:a16="http://schemas.microsoft.com/office/drawing/2014/main" id="{74A6F60E-B6AE-46A0-93E2-07BC94774A86}"/>
              </a:ext>
            </a:extLst>
          </p:cNvPr>
          <p:cNvSpPr/>
          <p:nvPr userDrawn="1"/>
        </p:nvSpPr>
        <p:spPr bwMode="auto">
          <a:xfrm>
            <a:off x="4271274"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Content Placeholder 18">
            <a:extLst>
              <a:ext uri="{FF2B5EF4-FFF2-40B4-BE49-F238E27FC236}">
                <a16:creationId xmlns:a16="http://schemas.microsoft.com/office/drawing/2014/main" id="{7E5E3B4D-5FF2-4D84-BDF9-37F9625F893D}"/>
              </a:ext>
            </a:extLst>
          </p:cNvPr>
          <p:cNvSpPr>
            <a:spLocks noGrp="1"/>
          </p:cNvSpPr>
          <p:nvPr>
            <p:ph sz="quarter" idx="15" hasCustomPrompt="1"/>
          </p:nvPr>
        </p:nvSpPr>
        <p:spPr>
          <a:xfrm>
            <a:off x="4479899" y="726785"/>
            <a:ext cx="1389062" cy="603250"/>
          </a:xfrm>
        </p:spPr>
        <p:txBody>
          <a:bodyPr anchor="ctr"/>
          <a:lstStyle>
            <a:lvl1pPr algn="ctr">
              <a:defRPr sz="1050">
                <a:solidFill>
                  <a:schemeClr val="tx1">
                    <a:lumMod val="50000"/>
                  </a:schemeClr>
                </a:solidFill>
              </a:defRPr>
            </a:lvl1pPr>
          </a:lstStyle>
          <a:p>
            <a:pPr lvl="0"/>
            <a:r>
              <a:rPr lang="en-US"/>
              <a:t>Paste client </a:t>
            </a:r>
            <a:r>
              <a:rPr lang="en-US" err="1"/>
              <a:t>logohere</a:t>
            </a:r>
            <a:endParaRPr lang="en-US"/>
          </a:p>
        </p:txBody>
      </p:sp>
      <p:sp>
        <p:nvSpPr>
          <p:cNvPr id="22" name="Rectangle 21">
            <a:extLst>
              <a:ext uri="{FF2B5EF4-FFF2-40B4-BE49-F238E27FC236}">
                <a16:creationId xmlns:a16="http://schemas.microsoft.com/office/drawing/2014/main" id="{84185A4A-10F8-48CA-A64F-635F56FF1708}"/>
              </a:ext>
            </a:extLst>
          </p:cNvPr>
          <p:cNvSpPr/>
          <p:nvPr userDrawn="1"/>
        </p:nvSpPr>
        <p:spPr bwMode="auto">
          <a:xfrm>
            <a:off x="6115208"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ontent Placeholder 18">
            <a:extLst>
              <a:ext uri="{FF2B5EF4-FFF2-40B4-BE49-F238E27FC236}">
                <a16:creationId xmlns:a16="http://schemas.microsoft.com/office/drawing/2014/main" id="{6A436ADB-657D-4130-929F-3946BB07BEE4}"/>
              </a:ext>
            </a:extLst>
          </p:cNvPr>
          <p:cNvSpPr>
            <a:spLocks noGrp="1"/>
          </p:cNvSpPr>
          <p:nvPr>
            <p:ph sz="quarter" idx="16" hasCustomPrompt="1"/>
          </p:nvPr>
        </p:nvSpPr>
        <p:spPr>
          <a:xfrm>
            <a:off x="6323833"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4" name="Rectangle 23">
            <a:extLst>
              <a:ext uri="{FF2B5EF4-FFF2-40B4-BE49-F238E27FC236}">
                <a16:creationId xmlns:a16="http://schemas.microsoft.com/office/drawing/2014/main" id="{5DFFE913-C127-4843-8A4C-76753AD3DC14}"/>
              </a:ext>
            </a:extLst>
          </p:cNvPr>
          <p:cNvSpPr/>
          <p:nvPr userDrawn="1"/>
        </p:nvSpPr>
        <p:spPr bwMode="auto">
          <a:xfrm>
            <a:off x="7959142"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Content Placeholder 18">
            <a:extLst>
              <a:ext uri="{FF2B5EF4-FFF2-40B4-BE49-F238E27FC236}">
                <a16:creationId xmlns:a16="http://schemas.microsoft.com/office/drawing/2014/main" id="{4A6587EC-AF2E-4526-8447-1ED580483DAC}"/>
              </a:ext>
            </a:extLst>
          </p:cNvPr>
          <p:cNvSpPr>
            <a:spLocks noGrp="1"/>
          </p:cNvSpPr>
          <p:nvPr>
            <p:ph sz="quarter" idx="17" hasCustomPrompt="1"/>
          </p:nvPr>
        </p:nvSpPr>
        <p:spPr>
          <a:xfrm>
            <a:off x="8167767"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6" name="Rectangle 25">
            <a:extLst>
              <a:ext uri="{FF2B5EF4-FFF2-40B4-BE49-F238E27FC236}">
                <a16:creationId xmlns:a16="http://schemas.microsoft.com/office/drawing/2014/main" id="{87A815F7-88FE-4DB0-BF5C-BDC502393E66}"/>
              </a:ext>
            </a:extLst>
          </p:cNvPr>
          <p:cNvSpPr/>
          <p:nvPr userDrawn="1"/>
        </p:nvSpPr>
        <p:spPr bwMode="auto">
          <a:xfrm>
            <a:off x="9803076"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Content Placeholder 18">
            <a:extLst>
              <a:ext uri="{FF2B5EF4-FFF2-40B4-BE49-F238E27FC236}">
                <a16:creationId xmlns:a16="http://schemas.microsoft.com/office/drawing/2014/main" id="{F4C501AE-485C-4033-A313-A156A9C22DC6}"/>
              </a:ext>
            </a:extLst>
          </p:cNvPr>
          <p:cNvSpPr>
            <a:spLocks noGrp="1"/>
          </p:cNvSpPr>
          <p:nvPr>
            <p:ph sz="quarter" idx="18" hasCustomPrompt="1"/>
          </p:nvPr>
        </p:nvSpPr>
        <p:spPr>
          <a:xfrm>
            <a:off x="10011701"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38" name="Rectangle 37">
            <a:extLst>
              <a:ext uri="{FF2B5EF4-FFF2-40B4-BE49-F238E27FC236}">
                <a16:creationId xmlns:a16="http://schemas.microsoft.com/office/drawing/2014/main" id="{E64D5E8F-F2B0-452A-9947-29691C815580}"/>
              </a:ext>
            </a:extLst>
          </p:cNvPr>
          <p:cNvSpPr/>
          <p:nvPr userDrawn="1"/>
        </p:nvSpPr>
        <p:spPr bwMode="auto">
          <a:xfrm>
            <a:off x="583406"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Content Placeholder 18">
            <a:extLst>
              <a:ext uri="{FF2B5EF4-FFF2-40B4-BE49-F238E27FC236}">
                <a16:creationId xmlns:a16="http://schemas.microsoft.com/office/drawing/2014/main" id="{33DFD439-A5E3-43C5-BA09-618B9224E369}"/>
              </a:ext>
            </a:extLst>
          </p:cNvPr>
          <p:cNvSpPr>
            <a:spLocks noGrp="1"/>
          </p:cNvSpPr>
          <p:nvPr>
            <p:ph sz="quarter" idx="19" hasCustomPrompt="1"/>
          </p:nvPr>
        </p:nvSpPr>
        <p:spPr>
          <a:xfrm>
            <a:off x="792031"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0" name="Rectangle 39">
            <a:extLst>
              <a:ext uri="{FF2B5EF4-FFF2-40B4-BE49-F238E27FC236}">
                <a16:creationId xmlns:a16="http://schemas.microsoft.com/office/drawing/2014/main" id="{B9F2B078-97DF-4907-837F-00C43F2224E2}"/>
              </a:ext>
            </a:extLst>
          </p:cNvPr>
          <p:cNvSpPr/>
          <p:nvPr userDrawn="1"/>
        </p:nvSpPr>
        <p:spPr bwMode="auto">
          <a:xfrm>
            <a:off x="2427340"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Content Placeholder 18">
            <a:extLst>
              <a:ext uri="{FF2B5EF4-FFF2-40B4-BE49-F238E27FC236}">
                <a16:creationId xmlns:a16="http://schemas.microsoft.com/office/drawing/2014/main" id="{9FE00F20-B883-4B30-BF93-2D442503B56F}"/>
              </a:ext>
            </a:extLst>
          </p:cNvPr>
          <p:cNvSpPr>
            <a:spLocks noGrp="1"/>
          </p:cNvSpPr>
          <p:nvPr>
            <p:ph sz="quarter" idx="20" hasCustomPrompt="1"/>
          </p:nvPr>
        </p:nvSpPr>
        <p:spPr>
          <a:xfrm>
            <a:off x="2635965"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2" name="Rectangle 41">
            <a:extLst>
              <a:ext uri="{FF2B5EF4-FFF2-40B4-BE49-F238E27FC236}">
                <a16:creationId xmlns:a16="http://schemas.microsoft.com/office/drawing/2014/main" id="{69642626-B307-4F3C-AED9-B3C8BB39B1BB}"/>
              </a:ext>
            </a:extLst>
          </p:cNvPr>
          <p:cNvSpPr/>
          <p:nvPr userDrawn="1"/>
        </p:nvSpPr>
        <p:spPr bwMode="auto">
          <a:xfrm>
            <a:off x="4271274"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Content Placeholder 18">
            <a:extLst>
              <a:ext uri="{FF2B5EF4-FFF2-40B4-BE49-F238E27FC236}">
                <a16:creationId xmlns:a16="http://schemas.microsoft.com/office/drawing/2014/main" id="{C0BFB723-AFAB-48E9-9053-04316A2D6612}"/>
              </a:ext>
            </a:extLst>
          </p:cNvPr>
          <p:cNvSpPr>
            <a:spLocks noGrp="1"/>
          </p:cNvSpPr>
          <p:nvPr>
            <p:ph sz="quarter" idx="21" hasCustomPrompt="1"/>
          </p:nvPr>
        </p:nvSpPr>
        <p:spPr>
          <a:xfrm>
            <a:off x="4479899"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4" name="Rectangle 43">
            <a:extLst>
              <a:ext uri="{FF2B5EF4-FFF2-40B4-BE49-F238E27FC236}">
                <a16:creationId xmlns:a16="http://schemas.microsoft.com/office/drawing/2014/main" id="{2BE87A49-27C9-4682-9DF9-41CC93A8B977}"/>
              </a:ext>
            </a:extLst>
          </p:cNvPr>
          <p:cNvSpPr/>
          <p:nvPr userDrawn="1"/>
        </p:nvSpPr>
        <p:spPr bwMode="auto">
          <a:xfrm>
            <a:off x="6115208"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Content Placeholder 18">
            <a:extLst>
              <a:ext uri="{FF2B5EF4-FFF2-40B4-BE49-F238E27FC236}">
                <a16:creationId xmlns:a16="http://schemas.microsoft.com/office/drawing/2014/main" id="{512E3DBA-D27C-4A78-B8A5-E749CD2CAF95}"/>
              </a:ext>
            </a:extLst>
          </p:cNvPr>
          <p:cNvSpPr>
            <a:spLocks noGrp="1"/>
          </p:cNvSpPr>
          <p:nvPr>
            <p:ph sz="quarter" idx="22" hasCustomPrompt="1"/>
          </p:nvPr>
        </p:nvSpPr>
        <p:spPr>
          <a:xfrm>
            <a:off x="6323833"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6" name="Rectangle 45">
            <a:extLst>
              <a:ext uri="{FF2B5EF4-FFF2-40B4-BE49-F238E27FC236}">
                <a16:creationId xmlns:a16="http://schemas.microsoft.com/office/drawing/2014/main" id="{9AABF1A3-970E-4F90-AB81-340828F6AF5E}"/>
              </a:ext>
            </a:extLst>
          </p:cNvPr>
          <p:cNvSpPr/>
          <p:nvPr userDrawn="1"/>
        </p:nvSpPr>
        <p:spPr bwMode="auto">
          <a:xfrm>
            <a:off x="7959142"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Content Placeholder 18">
            <a:extLst>
              <a:ext uri="{FF2B5EF4-FFF2-40B4-BE49-F238E27FC236}">
                <a16:creationId xmlns:a16="http://schemas.microsoft.com/office/drawing/2014/main" id="{A9B0003A-3CCA-457F-89EF-74B1F2BC6032}"/>
              </a:ext>
            </a:extLst>
          </p:cNvPr>
          <p:cNvSpPr>
            <a:spLocks noGrp="1"/>
          </p:cNvSpPr>
          <p:nvPr>
            <p:ph sz="quarter" idx="23" hasCustomPrompt="1"/>
          </p:nvPr>
        </p:nvSpPr>
        <p:spPr>
          <a:xfrm>
            <a:off x="8167767"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8" name="Rectangle 47">
            <a:extLst>
              <a:ext uri="{FF2B5EF4-FFF2-40B4-BE49-F238E27FC236}">
                <a16:creationId xmlns:a16="http://schemas.microsoft.com/office/drawing/2014/main" id="{33264109-495E-465D-B730-4C38F0335C47}"/>
              </a:ext>
            </a:extLst>
          </p:cNvPr>
          <p:cNvSpPr/>
          <p:nvPr userDrawn="1"/>
        </p:nvSpPr>
        <p:spPr bwMode="auto">
          <a:xfrm>
            <a:off x="9803076"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Content Placeholder 18">
            <a:extLst>
              <a:ext uri="{FF2B5EF4-FFF2-40B4-BE49-F238E27FC236}">
                <a16:creationId xmlns:a16="http://schemas.microsoft.com/office/drawing/2014/main" id="{B12F167C-61DE-4675-88EC-5A3431AA53DE}"/>
              </a:ext>
            </a:extLst>
          </p:cNvPr>
          <p:cNvSpPr>
            <a:spLocks noGrp="1"/>
          </p:cNvSpPr>
          <p:nvPr>
            <p:ph sz="quarter" idx="24" hasCustomPrompt="1"/>
          </p:nvPr>
        </p:nvSpPr>
        <p:spPr>
          <a:xfrm>
            <a:off x="10011701"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50" name="Rectangle 49">
            <a:extLst>
              <a:ext uri="{FF2B5EF4-FFF2-40B4-BE49-F238E27FC236}">
                <a16:creationId xmlns:a16="http://schemas.microsoft.com/office/drawing/2014/main" id="{C3C17458-2AD7-4E5F-B03D-D0FF5ED3BB7D}"/>
              </a:ext>
            </a:extLst>
          </p:cNvPr>
          <p:cNvSpPr/>
          <p:nvPr userDrawn="1"/>
        </p:nvSpPr>
        <p:spPr bwMode="auto">
          <a:xfrm>
            <a:off x="583406" y="247718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Content Placeholder 18">
            <a:extLst>
              <a:ext uri="{FF2B5EF4-FFF2-40B4-BE49-F238E27FC236}">
                <a16:creationId xmlns:a16="http://schemas.microsoft.com/office/drawing/2014/main" id="{F88C22C9-18C9-45EE-A91E-A24C8D028952}"/>
              </a:ext>
            </a:extLst>
          </p:cNvPr>
          <p:cNvSpPr>
            <a:spLocks noGrp="1"/>
          </p:cNvSpPr>
          <p:nvPr>
            <p:ph sz="quarter" idx="25" hasCustomPrompt="1"/>
          </p:nvPr>
        </p:nvSpPr>
        <p:spPr>
          <a:xfrm>
            <a:off x="792031" y="263497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53" name="Content Placeholder 18">
            <a:extLst>
              <a:ext uri="{FF2B5EF4-FFF2-40B4-BE49-F238E27FC236}">
                <a16:creationId xmlns:a16="http://schemas.microsoft.com/office/drawing/2014/main" id="{FC81C21B-08C4-41EE-AA50-98E3B243BE32}"/>
              </a:ext>
            </a:extLst>
          </p:cNvPr>
          <p:cNvSpPr>
            <a:spLocks noGrp="1"/>
          </p:cNvSpPr>
          <p:nvPr>
            <p:ph sz="quarter" idx="26" hasCustomPrompt="1"/>
          </p:nvPr>
        </p:nvSpPr>
        <p:spPr>
          <a:xfrm>
            <a:off x="2635965"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5" name="Content Placeholder 18">
            <a:extLst>
              <a:ext uri="{FF2B5EF4-FFF2-40B4-BE49-F238E27FC236}">
                <a16:creationId xmlns:a16="http://schemas.microsoft.com/office/drawing/2014/main" id="{22D41CDB-6950-46C1-9E9C-0645AB563238}"/>
              </a:ext>
            </a:extLst>
          </p:cNvPr>
          <p:cNvSpPr>
            <a:spLocks noGrp="1"/>
          </p:cNvSpPr>
          <p:nvPr>
            <p:ph sz="quarter" idx="27" hasCustomPrompt="1"/>
          </p:nvPr>
        </p:nvSpPr>
        <p:spPr>
          <a:xfrm>
            <a:off x="4479899"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7" name="Content Placeholder 18">
            <a:extLst>
              <a:ext uri="{FF2B5EF4-FFF2-40B4-BE49-F238E27FC236}">
                <a16:creationId xmlns:a16="http://schemas.microsoft.com/office/drawing/2014/main" id="{CD6BE09D-2EB2-442C-A9C7-73499813428D}"/>
              </a:ext>
            </a:extLst>
          </p:cNvPr>
          <p:cNvSpPr>
            <a:spLocks noGrp="1"/>
          </p:cNvSpPr>
          <p:nvPr>
            <p:ph sz="quarter" idx="28" hasCustomPrompt="1"/>
          </p:nvPr>
        </p:nvSpPr>
        <p:spPr>
          <a:xfrm>
            <a:off x="6323833"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9" name="Content Placeholder 18">
            <a:extLst>
              <a:ext uri="{FF2B5EF4-FFF2-40B4-BE49-F238E27FC236}">
                <a16:creationId xmlns:a16="http://schemas.microsoft.com/office/drawing/2014/main" id="{E8654335-2E8F-4B86-986D-19FEA2DAFF60}"/>
              </a:ext>
            </a:extLst>
          </p:cNvPr>
          <p:cNvSpPr>
            <a:spLocks noGrp="1"/>
          </p:cNvSpPr>
          <p:nvPr>
            <p:ph sz="quarter" idx="29" hasCustomPrompt="1"/>
          </p:nvPr>
        </p:nvSpPr>
        <p:spPr>
          <a:xfrm>
            <a:off x="8167767"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60" name="Rectangle 59">
            <a:extLst>
              <a:ext uri="{FF2B5EF4-FFF2-40B4-BE49-F238E27FC236}">
                <a16:creationId xmlns:a16="http://schemas.microsoft.com/office/drawing/2014/main" id="{DB9D07C8-A000-468D-85CE-30C6D0A0ABDE}"/>
              </a:ext>
            </a:extLst>
          </p:cNvPr>
          <p:cNvSpPr/>
          <p:nvPr userDrawn="1"/>
        </p:nvSpPr>
        <p:spPr bwMode="auto">
          <a:xfrm>
            <a:off x="9803076" y="247718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Content Placeholder 18">
            <a:extLst>
              <a:ext uri="{FF2B5EF4-FFF2-40B4-BE49-F238E27FC236}">
                <a16:creationId xmlns:a16="http://schemas.microsoft.com/office/drawing/2014/main" id="{43A61D3D-473D-4D89-84B1-78DEFAD09D71}"/>
              </a:ext>
            </a:extLst>
          </p:cNvPr>
          <p:cNvSpPr>
            <a:spLocks noGrp="1"/>
          </p:cNvSpPr>
          <p:nvPr>
            <p:ph sz="quarter" idx="30" hasCustomPrompt="1"/>
          </p:nvPr>
        </p:nvSpPr>
        <p:spPr>
          <a:xfrm>
            <a:off x="10011701" y="263497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62" name="Rectangle 61">
            <a:extLst>
              <a:ext uri="{FF2B5EF4-FFF2-40B4-BE49-F238E27FC236}">
                <a16:creationId xmlns:a16="http://schemas.microsoft.com/office/drawing/2014/main" id="{1F6C1C78-492D-477F-8B2E-EF031F90E9A4}"/>
              </a:ext>
            </a:extLst>
          </p:cNvPr>
          <p:cNvSpPr/>
          <p:nvPr userDrawn="1"/>
        </p:nvSpPr>
        <p:spPr bwMode="auto">
          <a:xfrm>
            <a:off x="583406" y="342900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Content Placeholder 18">
            <a:extLst>
              <a:ext uri="{FF2B5EF4-FFF2-40B4-BE49-F238E27FC236}">
                <a16:creationId xmlns:a16="http://schemas.microsoft.com/office/drawing/2014/main" id="{DB867685-6ADB-4679-A76B-57CF062610D3}"/>
              </a:ext>
            </a:extLst>
          </p:cNvPr>
          <p:cNvSpPr>
            <a:spLocks noGrp="1"/>
          </p:cNvSpPr>
          <p:nvPr>
            <p:ph sz="quarter" idx="31" hasCustomPrompt="1"/>
          </p:nvPr>
        </p:nvSpPr>
        <p:spPr>
          <a:xfrm>
            <a:off x="792031" y="358678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2" name="Rectangle 71">
            <a:extLst>
              <a:ext uri="{FF2B5EF4-FFF2-40B4-BE49-F238E27FC236}">
                <a16:creationId xmlns:a16="http://schemas.microsoft.com/office/drawing/2014/main" id="{A6646351-E417-435E-811F-94042FEB1D94}"/>
              </a:ext>
            </a:extLst>
          </p:cNvPr>
          <p:cNvSpPr/>
          <p:nvPr userDrawn="1"/>
        </p:nvSpPr>
        <p:spPr bwMode="auto">
          <a:xfrm>
            <a:off x="9803076" y="342900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Content Placeholder 18">
            <a:extLst>
              <a:ext uri="{FF2B5EF4-FFF2-40B4-BE49-F238E27FC236}">
                <a16:creationId xmlns:a16="http://schemas.microsoft.com/office/drawing/2014/main" id="{269D54EA-8EE3-4962-A1B3-36F913C6B2E8}"/>
              </a:ext>
            </a:extLst>
          </p:cNvPr>
          <p:cNvSpPr>
            <a:spLocks noGrp="1"/>
          </p:cNvSpPr>
          <p:nvPr>
            <p:ph sz="quarter" idx="36" hasCustomPrompt="1"/>
          </p:nvPr>
        </p:nvSpPr>
        <p:spPr>
          <a:xfrm>
            <a:off x="10011701" y="358678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4" name="Rectangle 73">
            <a:extLst>
              <a:ext uri="{FF2B5EF4-FFF2-40B4-BE49-F238E27FC236}">
                <a16:creationId xmlns:a16="http://schemas.microsoft.com/office/drawing/2014/main" id="{EC5C9F59-1FE8-47AD-9A5D-D0E38606E291}"/>
              </a:ext>
            </a:extLst>
          </p:cNvPr>
          <p:cNvSpPr/>
          <p:nvPr userDrawn="1"/>
        </p:nvSpPr>
        <p:spPr bwMode="auto">
          <a:xfrm>
            <a:off x="583406"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Content Placeholder 18">
            <a:extLst>
              <a:ext uri="{FF2B5EF4-FFF2-40B4-BE49-F238E27FC236}">
                <a16:creationId xmlns:a16="http://schemas.microsoft.com/office/drawing/2014/main" id="{3F76590E-FDF7-4D2B-8BCD-E6C2CC3D8700}"/>
              </a:ext>
            </a:extLst>
          </p:cNvPr>
          <p:cNvSpPr>
            <a:spLocks noGrp="1"/>
          </p:cNvSpPr>
          <p:nvPr>
            <p:ph sz="quarter" idx="37" hasCustomPrompt="1"/>
          </p:nvPr>
        </p:nvSpPr>
        <p:spPr>
          <a:xfrm>
            <a:off x="792031"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6" name="Rectangle 75">
            <a:extLst>
              <a:ext uri="{FF2B5EF4-FFF2-40B4-BE49-F238E27FC236}">
                <a16:creationId xmlns:a16="http://schemas.microsoft.com/office/drawing/2014/main" id="{1FD9B81F-7370-47ED-9BA5-24A42969F6F6}"/>
              </a:ext>
            </a:extLst>
          </p:cNvPr>
          <p:cNvSpPr/>
          <p:nvPr userDrawn="1"/>
        </p:nvSpPr>
        <p:spPr bwMode="auto">
          <a:xfrm>
            <a:off x="2427340"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Content Placeholder 18">
            <a:extLst>
              <a:ext uri="{FF2B5EF4-FFF2-40B4-BE49-F238E27FC236}">
                <a16:creationId xmlns:a16="http://schemas.microsoft.com/office/drawing/2014/main" id="{23504BAD-76F8-4415-9FAC-08051D750A33}"/>
              </a:ext>
            </a:extLst>
          </p:cNvPr>
          <p:cNvSpPr>
            <a:spLocks noGrp="1"/>
          </p:cNvSpPr>
          <p:nvPr>
            <p:ph sz="quarter" idx="38" hasCustomPrompt="1"/>
          </p:nvPr>
        </p:nvSpPr>
        <p:spPr>
          <a:xfrm>
            <a:off x="2635965"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8" name="Rectangle 77">
            <a:extLst>
              <a:ext uri="{FF2B5EF4-FFF2-40B4-BE49-F238E27FC236}">
                <a16:creationId xmlns:a16="http://schemas.microsoft.com/office/drawing/2014/main" id="{B4425750-CED5-40C7-A765-804F5B51190D}"/>
              </a:ext>
            </a:extLst>
          </p:cNvPr>
          <p:cNvSpPr/>
          <p:nvPr userDrawn="1"/>
        </p:nvSpPr>
        <p:spPr bwMode="auto">
          <a:xfrm>
            <a:off x="4271274"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Content Placeholder 18">
            <a:extLst>
              <a:ext uri="{FF2B5EF4-FFF2-40B4-BE49-F238E27FC236}">
                <a16:creationId xmlns:a16="http://schemas.microsoft.com/office/drawing/2014/main" id="{3AE66C8C-9867-4392-805F-B05D3899444F}"/>
              </a:ext>
            </a:extLst>
          </p:cNvPr>
          <p:cNvSpPr>
            <a:spLocks noGrp="1"/>
          </p:cNvSpPr>
          <p:nvPr>
            <p:ph sz="quarter" idx="39" hasCustomPrompt="1"/>
          </p:nvPr>
        </p:nvSpPr>
        <p:spPr>
          <a:xfrm>
            <a:off x="4479899"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0" name="Rectangle 79">
            <a:extLst>
              <a:ext uri="{FF2B5EF4-FFF2-40B4-BE49-F238E27FC236}">
                <a16:creationId xmlns:a16="http://schemas.microsoft.com/office/drawing/2014/main" id="{0F2A72D1-80CC-4A20-BEAA-877965D2DBEE}"/>
              </a:ext>
            </a:extLst>
          </p:cNvPr>
          <p:cNvSpPr/>
          <p:nvPr userDrawn="1"/>
        </p:nvSpPr>
        <p:spPr bwMode="auto">
          <a:xfrm>
            <a:off x="6115208"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Content Placeholder 18">
            <a:extLst>
              <a:ext uri="{FF2B5EF4-FFF2-40B4-BE49-F238E27FC236}">
                <a16:creationId xmlns:a16="http://schemas.microsoft.com/office/drawing/2014/main" id="{B17EC239-4C14-4411-8F9C-1182F702CCF7}"/>
              </a:ext>
            </a:extLst>
          </p:cNvPr>
          <p:cNvSpPr>
            <a:spLocks noGrp="1"/>
          </p:cNvSpPr>
          <p:nvPr>
            <p:ph sz="quarter" idx="40" hasCustomPrompt="1"/>
          </p:nvPr>
        </p:nvSpPr>
        <p:spPr>
          <a:xfrm>
            <a:off x="6323833"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2" name="Rectangle 81">
            <a:extLst>
              <a:ext uri="{FF2B5EF4-FFF2-40B4-BE49-F238E27FC236}">
                <a16:creationId xmlns:a16="http://schemas.microsoft.com/office/drawing/2014/main" id="{D0273921-0B5B-4995-9FCE-C068F256C674}"/>
              </a:ext>
            </a:extLst>
          </p:cNvPr>
          <p:cNvSpPr/>
          <p:nvPr userDrawn="1"/>
        </p:nvSpPr>
        <p:spPr bwMode="auto">
          <a:xfrm>
            <a:off x="7959142"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Content Placeholder 18">
            <a:extLst>
              <a:ext uri="{FF2B5EF4-FFF2-40B4-BE49-F238E27FC236}">
                <a16:creationId xmlns:a16="http://schemas.microsoft.com/office/drawing/2014/main" id="{76861C9E-417D-4E50-A0CA-840B90F6F60F}"/>
              </a:ext>
            </a:extLst>
          </p:cNvPr>
          <p:cNvSpPr>
            <a:spLocks noGrp="1"/>
          </p:cNvSpPr>
          <p:nvPr>
            <p:ph sz="quarter" idx="41" hasCustomPrompt="1"/>
          </p:nvPr>
        </p:nvSpPr>
        <p:spPr>
          <a:xfrm>
            <a:off x="8167767"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4" name="Rectangle 83">
            <a:extLst>
              <a:ext uri="{FF2B5EF4-FFF2-40B4-BE49-F238E27FC236}">
                <a16:creationId xmlns:a16="http://schemas.microsoft.com/office/drawing/2014/main" id="{92E4CFBD-F99C-4467-9D63-5F6282430CAA}"/>
              </a:ext>
            </a:extLst>
          </p:cNvPr>
          <p:cNvSpPr/>
          <p:nvPr userDrawn="1"/>
        </p:nvSpPr>
        <p:spPr bwMode="auto">
          <a:xfrm>
            <a:off x="9803076"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Content Placeholder 18">
            <a:extLst>
              <a:ext uri="{FF2B5EF4-FFF2-40B4-BE49-F238E27FC236}">
                <a16:creationId xmlns:a16="http://schemas.microsoft.com/office/drawing/2014/main" id="{2581E23B-B8B0-40EF-A8C6-16802DC4F710}"/>
              </a:ext>
            </a:extLst>
          </p:cNvPr>
          <p:cNvSpPr>
            <a:spLocks noGrp="1"/>
          </p:cNvSpPr>
          <p:nvPr>
            <p:ph sz="quarter" idx="42" hasCustomPrompt="1"/>
          </p:nvPr>
        </p:nvSpPr>
        <p:spPr>
          <a:xfrm>
            <a:off x="10011701"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6" name="Rectangle 85">
            <a:extLst>
              <a:ext uri="{FF2B5EF4-FFF2-40B4-BE49-F238E27FC236}">
                <a16:creationId xmlns:a16="http://schemas.microsoft.com/office/drawing/2014/main" id="{5783CFE8-99A5-42FD-8431-0E1896A473D8}"/>
              </a:ext>
            </a:extLst>
          </p:cNvPr>
          <p:cNvSpPr/>
          <p:nvPr userDrawn="1"/>
        </p:nvSpPr>
        <p:spPr bwMode="auto">
          <a:xfrm>
            <a:off x="583406"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Content Placeholder 18">
            <a:extLst>
              <a:ext uri="{FF2B5EF4-FFF2-40B4-BE49-F238E27FC236}">
                <a16:creationId xmlns:a16="http://schemas.microsoft.com/office/drawing/2014/main" id="{4DB9FD32-B18F-4718-84F3-F9FA27377F2A}"/>
              </a:ext>
            </a:extLst>
          </p:cNvPr>
          <p:cNvSpPr>
            <a:spLocks noGrp="1"/>
          </p:cNvSpPr>
          <p:nvPr>
            <p:ph sz="quarter" idx="43" hasCustomPrompt="1"/>
          </p:nvPr>
        </p:nvSpPr>
        <p:spPr>
          <a:xfrm>
            <a:off x="792031"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8" name="Rectangle 87">
            <a:extLst>
              <a:ext uri="{FF2B5EF4-FFF2-40B4-BE49-F238E27FC236}">
                <a16:creationId xmlns:a16="http://schemas.microsoft.com/office/drawing/2014/main" id="{6793B834-F7A5-47A4-B159-75C07E8F0EDE}"/>
              </a:ext>
            </a:extLst>
          </p:cNvPr>
          <p:cNvSpPr/>
          <p:nvPr userDrawn="1"/>
        </p:nvSpPr>
        <p:spPr bwMode="auto">
          <a:xfrm>
            <a:off x="2427340"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Content Placeholder 18">
            <a:extLst>
              <a:ext uri="{FF2B5EF4-FFF2-40B4-BE49-F238E27FC236}">
                <a16:creationId xmlns:a16="http://schemas.microsoft.com/office/drawing/2014/main" id="{097A0E1B-94D9-48DB-BC91-500E30DBC7C6}"/>
              </a:ext>
            </a:extLst>
          </p:cNvPr>
          <p:cNvSpPr>
            <a:spLocks noGrp="1"/>
          </p:cNvSpPr>
          <p:nvPr>
            <p:ph sz="quarter" idx="44" hasCustomPrompt="1"/>
          </p:nvPr>
        </p:nvSpPr>
        <p:spPr>
          <a:xfrm>
            <a:off x="2635965"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0" name="Rectangle 89">
            <a:extLst>
              <a:ext uri="{FF2B5EF4-FFF2-40B4-BE49-F238E27FC236}">
                <a16:creationId xmlns:a16="http://schemas.microsoft.com/office/drawing/2014/main" id="{B42A7C33-E2A3-4FFD-99EE-C0E1B8E404A1}"/>
              </a:ext>
            </a:extLst>
          </p:cNvPr>
          <p:cNvSpPr/>
          <p:nvPr userDrawn="1"/>
        </p:nvSpPr>
        <p:spPr bwMode="auto">
          <a:xfrm>
            <a:off x="4271274"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Content Placeholder 18">
            <a:extLst>
              <a:ext uri="{FF2B5EF4-FFF2-40B4-BE49-F238E27FC236}">
                <a16:creationId xmlns:a16="http://schemas.microsoft.com/office/drawing/2014/main" id="{B8AC46BC-112D-4FEF-95EA-FF67BEADCBD6}"/>
              </a:ext>
            </a:extLst>
          </p:cNvPr>
          <p:cNvSpPr>
            <a:spLocks noGrp="1"/>
          </p:cNvSpPr>
          <p:nvPr>
            <p:ph sz="quarter" idx="45" hasCustomPrompt="1"/>
          </p:nvPr>
        </p:nvSpPr>
        <p:spPr>
          <a:xfrm>
            <a:off x="4479899"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2" name="Rectangle 91">
            <a:extLst>
              <a:ext uri="{FF2B5EF4-FFF2-40B4-BE49-F238E27FC236}">
                <a16:creationId xmlns:a16="http://schemas.microsoft.com/office/drawing/2014/main" id="{51D37087-97BF-472F-B6F0-05EF3E13ECF0}"/>
              </a:ext>
            </a:extLst>
          </p:cNvPr>
          <p:cNvSpPr/>
          <p:nvPr userDrawn="1"/>
        </p:nvSpPr>
        <p:spPr bwMode="auto">
          <a:xfrm>
            <a:off x="6115208"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Content Placeholder 18">
            <a:extLst>
              <a:ext uri="{FF2B5EF4-FFF2-40B4-BE49-F238E27FC236}">
                <a16:creationId xmlns:a16="http://schemas.microsoft.com/office/drawing/2014/main" id="{EF6D503C-8B84-4DEC-B3D2-689016EF5D53}"/>
              </a:ext>
            </a:extLst>
          </p:cNvPr>
          <p:cNvSpPr>
            <a:spLocks noGrp="1"/>
          </p:cNvSpPr>
          <p:nvPr>
            <p:ph sz="quarter" idx="46" hasCustomPrompt="1"/>
          </p:nvPr>
        </p:nvSpPr>
        <p:spPr>
          <a:xfrm>
            <a:off x="6323833"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4" name="Rectangle 93">
            <a:extLst>
              <a:ext uri="{FF2B5EF4-FFF2-40B4-BE49-F238E27FC236}">
                <a16:creationId xmlns:a16="http://schemas.microsoft.com/office/drawing/2014/main" id="{171360A8-617A-4D79-8A2B-C28EBE6867F3}"/>
              </a:ext>
            </a:extLst>
          </p:cNvPr>
          <p:cNvSpPr/>
          <p:nvPr userDrawn="1"/>
        </p:nvSpPr>
        <p:spPr bwMode="auto">
          <a:xfrm>
            <a:off x="7959142"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ntent Placeholder 18">
            <a:extLst>
              <a:ext uri="{FF2B5EF4-FFF2-40B4-BE49-F238E27FC236}">
                <a16:creationId xmlns:a16="http://schemas.microsoft.com/office/drawing/2014/main" id="{13C54BCE-D2D9-4160-B2AE-62594C2DB0D1}"/>
              </a:ext>
            </a:extLst>
          </p:cNvPr>
          <p:cNvSpPr>
            <a:spLocks noGrp="1"/>
          </p:cNvSpPr>
          <p:nvPr>
            <p:ph sz="quarter" idx="47" hasCustomPrompt="1"/>
          </p:nvPr>
        </p:nvSpPr>
        <p:spPr>
          <a:xfrm>
            <a:off x="8167767"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6" name="Rectangle 95">
            <a:extLst>
              <a:ext uri="{FF2B5EF4-FFF2-40B4-BE49-F238E27FC236}">
                <a16:creationId xmlns:a16="http://schemas.microsoft.com/office/drawing/2014/main" id="{E6487C20-617A-48EC-9BFD-0441465CF786}"/>
              </a:ext>
            </a:extLst>
          </p:cNvPr>
          <p:cNvSpPr/>
          <p:nvPr userDrawn="1"/>
        </p:nvSpPr>
        <p:spPr bwMode="auto">
          <a:xfrm>
            <a:off x="9803076"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ntent Placeholder 18">
            <a:extLst>
              <a:ext uri="{FF2B5EF4-FFF2-40B4-BE49-F238E27FC236}">
                <a16:creationId xmlns:a16="http://schemas.microsoft.com/office/drawing/2014/main" id="{C80EEFE0-81C2-4909-A093-C931A6946302}"/>
              </a:ext>
            </a:extLst>
          </p:cNvPr>
          <p:cNvSpPr>
            <a:spLocks noGrp="1"/>
          </p:cNvSpPr>
          <p:nvPr>
            <p:ph sz="quarter" idx="48" hasCustomPrompt="1"/>
          </p:nvPr>
        </p:nvSpPr>
        <p:spPr>
          <a:xfrm>
            <a:off x="10011701"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Tree>
    <p:extLst>
      <p:ext uri="{BB962C8B-B14F-4D97-AF65-F5344CB8AC3E}">
        <p14:creationId xmlns:p14="http://schemas.microsoft.com/office/powerpoint/2010/main" val="138690967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19" name="Picture Placeholder 3">
            <a:extLst>
              <a:ext uri="{FF2B5EF4-FFF2-40B4-BE49-F238E27FC236}">
                <a16:creationId xmlns:a16="http://schemas.microsoft.com/office/drawing/2014/main" id="{C2AB6847-D95C-41C5-8B66-6480D07B224C}"/>
              </a:ext>
            </a:extLst>
          </p:cNvPr>
          <p:cNvSpPr>
            <a:spLocks noGrp="1"/>
          </p:cNvSpPr>
          <p:nvPr>
            <p:ph type="pic" sz="quarter" idx="13" hasCustomPrompt="1"/>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vision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Lst>
          </p:cNvPr>
          <p:cNvSpPr>
            <a:spLocks noGrp="1"/>
          </p:cNvSpPr>
          <p:nvPr>
            <p:ph type="dt" sz="half" idx="22"/>
          </p:nvPr>
        </p:nvSpPr>
        <p:spPr/>
        <p:txBody>
          <a:bodyPr/>
          <a:lstStyle/>
          <a:p>
            <a:r>
              <a:rPr lang="en-US"/>
              <a:t>CONFIDENTIAL</a:t>
            </a:r>
          </a:p>
        </p:txBody>
      </p:sp>
      <p:sp>
        <p:nvSpPr>
          <p:cNvPr id="4" name="Footer Placeholder 3">
            <a:extLst>
              <a:ext uri="{FF2B5EF4-FFF2-40B4-BE49-F238E27FC236}">
                <a16:creationId xmlns:a16="http://schemas.microsoft.com/office/drawing/2014/main" id="{C1E98463-77EF-4263-84C5-1E7C32332EBC}"/>
              </a:ext>
            </a:extLst>
          </p:cNvPr>
          <p:cNvSpPr>
            <a:spLocks noGrp="1"/>
          </p:cNvSpPr>
          <p:nvPr>
            <p:ph type="ftr" sz="quarter" idx="23"/>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835707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119F803-CBA1-4767-A11B-3FFA37B35705}"/>
              </a:ext>
            </a:extLst>
          </p:cNvPr>
          <p:cNvSpPr>
            <a:spLocks noGrp="1"/>
          </p:cNvSpPr>
          <p:nvPr>
            <p:ph type="pic" sz="quarter" idx="13" hasCustomPrompt="1"/>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decision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p:txBody>
          <a:body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p:txBody>
          <a:body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99478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0954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t="-9655" b="-9655"/>
            </a:stretch>
          </a:blipFill>
        </p:spPr>
        <p:txBody>
          <a:bodyPr tIns="914400" anchor="ctr">
            <a:noAutofit/>
          </a:bodyPr>
          <a:lstStyle>
            <a:lvl1pPr marL="0" indent="0" algn="ctr">
              <a:buNone/>
              <a:defRPr>
                <a:solidFill>
                  <a:schemeClr val="bg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speech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p:txBody>
          <a:body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p:txBody>
          <a:body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38995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hasCustomPrompt="1"/>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language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p:txBody>
          <a:body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p:txBody>
          <a:body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29454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High Impact Statement Blue">
    <p:bg>
      <p:bgPr>
        <a:solidFill>
          <a:srgbClr val="0078D4"/>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62B490-B50D-4959-98B3-4387E7024263}"/>
              </a:ext>
            </a:extLst>
          </p:cNvPr>
          <p:cNvSpPr>
            <a:spLocks noGrp="1"/>
          </p:cNvSpPr>
          <p:nvPr>
            <p:ph type="body" sz="quarter" idx="10" hasCustomPrompt="1"/>
          </p:nvPr>
        </p:nvSpPr>
        <p:spPr>
          <a:xfrm>
            <a:off x="609600" y="1524000"/>
            <a:ext cx="10972800" cy="4745038"/>
          </a:xfrm>
        </p:spPr>
        <p:txBody>
          <a:bodyPr anchor="ctr"/>
          <a:lstStyle>
            <a:lvl1pPr>
              <a:defRPr sz="4000">
                <a:solidFill>
                  <a:schemeClr val="tx1"/>
                </a:solidFill>
              </a:defRPr>
            </a:lvl1pPr>
            <a:lvl2pPr>
              <a:defRPr sz="3600"/>
            </a:lvl2pPr>
            <a:lvl3pPr>
              <a:defRPr sz="3600"/>
            </a:lvl3pPr>
            <a:lvl4pPr>
              <a:defRPr sz="3600"/>
            </a:lvl4pPr>
            <a:lvl5pPr>
              <a:defRPr sz="3600"/>
            </a:lvl5pPr>
          </a:lstStyle>
          <a:p>
            <a:pPr lvl="0"/>
            <a:r>
              <a:rPr lang="en-US"/>
              <a:t>Add high impact statement here</a:t>
            </a:r>
          </a:p>
        </p:txBody>
      </p:sp>
      <p:sp>
        <p:nvSpPr>
          <p:cNvPr id="4" name="Date Placeholder 3">
            <a:extLst>
              <a:ext uri="{FF2B5EF4-FFF2-40B4-BE49-F238E27FC236}">
                <a16:creationId xmlns:a16="http://schemas.microsoft.com/office/drawing/2014/main" id="{A75E8B66-89B5-4B29-8B73-21C0DC079AE5}"/>
              </a:ext>
            </a:extLst>
          </p:cNvPr>
          <p:cNvSpPr>
            <a:spLocks noGrp="1"/>
          </p:cNvSpPr>
          <p:nvPr>
            <p:ph type="dt" sz="half" idx="11"/>
          </p:nvPr>
        </p:nvSpPr>
        <p:spPr/>
        <p:txBody>
          <a:bodyPr/>
          <a:lstStyle/>
          <a:p>
            <a:r>
              <a:rPr lang="en-US"/>
              <a:t>CONFIDENTIAL</a:t>
            </a:r>
          </a:p>
        </p:txBody>
      </p:sp>
      <p:sp>
        <p:nvSpPr>
          <p:cNvPr id="7" name="Footer Placeholder 6">
            <a:extLst>
              <a:ext uri="{FF2B5EF4-FFF2-40B4-BE49-F238E27FC236}">
                <a16:creationId xmlns:a16="http://schemas.microsoft.com/office/drawing/2014/main" id="{2CFE14E0-5735-4320-91E5-8BC6C7922A66}"/>
              </a:ext>
            </a:extLst>
          </p:cNvPr>
          <p:cNvSpPr>
            <a:spLocks noGrp="1"/>
          </p:cNvSpPr>
          <p:nvPr>
            <p:ph type="ftr" sz="quarter" idx="12"/>
          </p:nvPr>
        </p:nvSpPr>
        <p:spPr/>
        <p:txBody>
          <a:bodyPr/>
          <a:lstStyle/>
          <a:p>
            <a:r>
              <a:rPr lang="en-US"/>
              <a:t>Microsoft Azure | Cognitive Services</a:t>
            </a:r>
          </a:p>
        </p:txBody>
      </p:sp>
      <p:sp>
        <p:nvSpPr>
          <p:cNvPr id="9" name="Slide Number Placeholder 8">
            <a:extLst>
              <a:ext uri="{FF2B5EF4-FFF2-40B4-BE49-F238E27FC236}">
                <a16:creationId xmlns:a16="http://schemas.microsoft.com/office/drawing/2014/main" id="{8B75109B-598A-49CD-B196-DAC1017511E0}"/>
              </a:ext>
            </a:extLst>
          </p:cNvPr>
          <p:cNvSpPr>
            <a:spLocks noGrp="1"/>
          </p:cNvSpPr>
          <p:nvPr>
            <p:ph type="sldNum" sz="quarter" idx="13"/>
          </p:nvPr>
        </p:nvSpPr>
        <p:spPr/>
        <p:txBody>
          <a:bodyPr/>
          <a:lstStyle/>
          <a:p>
            <a:fld id="{92952735-9F7B-40AF-A7B3-40E1B5550C31}" type="slidenum">
              <a:rPr lang="en-US" smtClean="0"/>
              <a:pPr/>
              <a:t>‹#›</a:t>
            </a:fld>
            <a:endParaRPr lang="en-US"/>
          </a:p>
        </p:txBody>
      </p:sp>
      <p:pic>
        <p:nvPicPr>
          <p:cNvPr id="5" name="Graphic 4">
            <a:extLst>
              <a:ext uri="{FF2B5EF4-FFF2-40B4-BE49-F238E27FC236}">
                <a16:creationId xmlns:a16="http://schemas.microsoft.com/office/drawing/2014/main" id="{27BA22ED-C0A1-4DF4-9303-E05BD2B889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1403214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High Impact Statement">
    <p:bg>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62B490-B50D-4959-98B3-4387E7024263}"/>
              </a:ext>
            </a:extLst>
          </p:cNvPr>
          <p:cNvSpPr>
            <a:spLocks noGrp="1"/>
          </p:cNvSpPr>
          <p:nvPr>
            <p:ph type="body" sz="quarter" idx="10" hasCustomPrompt="1"/>
          </p:nvPr>
        </p:nvSpPr>
        <p:spPr>
          <a:xfrm>
            <a:off x="609600" y="1524000"/>
            <a:ext cx="10972800" cy="4745038"/>
          </a:xfrm>
        </p:spPr>
        <p:txBody>
          <a:bodyPr anchor="ctr"/>
          <a:lstStyle>
            <a:lvl1pPr>
              <a:defRPr sz="40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en-US"/>
              <a:t>Add high impact statement here</a:t>
            </a:r>
          </a:p>
        </p:txBody>
      </p:sp>
      <p:sp>
        <p:nvSpPr>
          <p:cNvPr id="4" name="Date Placeholder 3">
            <a:extLst>
              <a:ext uri="{FF2B5EF4-FFF2-40B4-BE49-F238E27FC236}">
                <a16:creationId xmlns:a16="http://schemas.microsoft.com/office/drawing/2014/main" id="{A75E8B66-89B5-4B29-8B73-21C0DC079AE5}"/>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7" name="Footer Placeholder 6">
            <a:extLst>
              <a:ext uri="{FF2B5EF4-FFF2-40B4-BE49-F238E27FC236}">
                <a16:creationId xmlns:a16="http://schemas.microsoft.com/office/drawing/2014/main" id="{2CFE14E0-5735-4320-91E5-8BC6C7922A66}"/>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9" name="Slide Number Placeholder 8">
            <a:extLst>
              <a:ext uri="{FF2B5EF4-FFF2-40B4-BE49-F238E27FC236}">
                <a16:creationId xmlns:a16="http://schemas.microsoft.com/office/drawing/2014/main" id="{8B75109B-598A-49CD-B196-DAC1017511E0}"/>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10" name="Picture Placeholder 13">
            <a:extLst>
              <a:ext uri="{FF2B5EF4-FFF2-40B4-BE49-F238E27FC236}">
                <a16:creationId xmlns:a16="http://schemas.microsoft.com/office/drawing/2014/main" id="{23FD6C3E-14D5-4141-A73E-8F2206D91750}"/>
              </a:ext>
            </a:extLst>
          </p:cNvPr>
          <p:cNvSpPr>
            <a:spLocks noGrp="1"/>
          </p:cNvSpPr>
          <p:nvPr>
            <p:ph type="pic" sz="quarter" idx="17" hasCustomPrompt="1"/>
          </p:nvPr>
        </p:nvSpPr>
        <p:spPr>
          <a:xfrm>
            <a:off x="312739" y="320305"/>
            <a:ext cx="2452392" cy="804797"/>
          </a:xfrm>
          <a:blipFill>
            <a:blip r:embed="rId2" cstate="screen">
              <a:extLst>
                <a:ext uri="{28A0092B-C50C-407E-A947-70E740481C1C}">
                  <a14:useLocalDpi xmlns:a14="http://schemas.microsoft.com/office/drawing/2010/main"/>
                </a:ext>
              </a:extLst>
            </a:blip>
            <a:stretch>
              <a:fillRect/>
            </a:stretch>
          </a:blipFill>
        </p:spPr>
        <p:txBody>
          <a:bodyPr/>
          <a:lstStyle/>
          <a:p>
            <a:r>
              <a:rPr lang="en-US"/>
              <a:t> </a:t>
            </a:r>
          </a:p>
        </p:txBody>
      </p:sp>
    </p:spTree>
    <p:extLst>
      <p:ext uri="{BB962C8B-B14F-4D97-AF65-F5344CB8AC3E}">
        <p14:creationId xmlns:p14="http://schemas.microsoft.com/office/powerpoint/2010/main" val="262053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524000"/>
            <a:ext cx="110188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991138649"/>
      </p:ext>
    </p:extLst>
  </p:cSld>
  <p:clrMapOvr>
    <a:masterClrMapping/>
  </p:clrMapOvr>
  <p:transition>
    <p:fade/>
  </p:transition>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2-Colum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8" name="Content Placeholder 3">
            <a:extLst>
              <a:ext uri="{FF2B5EF4-FFF2-40B4-BE49-F238E27FC236}">
                <a16:creationId xmlns:a16="http://schemas.microsoft.com/office/drawing/2014/main" id="{6436B7E3-6148-4583-A925-7BA9FC77527F}"/>
              </a:ext>
            </a:extLst>
          </p:cNvPr>
          <p:cNvSpPr>
            <a:spLocks noGrp="1"/>
          </p:cNvSpPr>
          <p:nvPr>
            <p:ph sz="quarter" idx="10" hasCustomPrompt="1"/>
          </p:nvPr>
        </p:nvSpPr>
        <p:spPr>
          <a:xfrm>
            <a:off x="584200" y="1524000"/>
            <a:ext cx="53673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B40DD31B-5B20-4ECF-A17B-6DFD67395D52}"/>
              </a:ext>
            </a:extLst>
          </p:cNvPr>
          <p:cNvSpPr>
            <a:spLocks noGrp="1"/>
          </p:cNvSpPr>
          <p:nvPr>
            <p:ph sz="quarter" idx="16" hasCustomPrompt="1"/>
          </p:nvPr>
        </p:nvSpPr>
        <p:spPr>
          <a:xfrm>
            <a:off x="6239445" y="1524000"/>
            <a:ext cx="53673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8715195"/>
      </p:ext>
    </p:extLst>
  </p:cSld>
  <p:clrMapOvr>
    <a:masterClrMapping/>
  </p:clrMapOvr>
  <p:transition>
    <p:fade/>
  </p:transition>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2038418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Subitl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8B3C7-7637-4F9D-9EE2-E834C37A592A}"/>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7923C46A-DFE3-4109-B5B8-3E5C6C04A4FF}"/>
              </a:ext>
            </a:extLst>
          </p:cNvPr>
          <p:cNvSpPr>
            <a:spLocks noGrp="1"/>
          </p:cNvSpPr>
          <p:nvPr>
            <p:ph type="body" sz="quarter" idx="13"/>
          </p:nvPr>
        </p:nvSpPr>
        <p:spPr>
          <a:xfrm>
            <a:off x="584200" y="843614"/>
            <a:ext cx="2787173" cy="246221"/>
          </a:xfrm>
        </p:spPr>
        <p:txBody>
          <a:bodyPr wrap="none">
            <a:spAutoFit/>
          </a:bodyPr>
          <a:lstStyle>
            <a:lvl1pPr>
              <a:defRPr sz="1600">
                <a:solidFill>
                  <a:schemeClr val="bg2"/>
                </a:solid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36FE8040-93E6-4C97-A95F-76182C6371DE}"/>
              </a:ext>
            </a:extLst>
          </p:cNvPr>
          <p:cNvSpPr>
            <a:spLocks noGrp="1"/>
          </p:cNvSpPr>
          <p:nvPr>
            <p:ph type="dt" sz="half" idx="14"/>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A6258772-A7CF-4F40-8542-CDDCD5152E69}"/>
              </a:ext>
            </a:extLst>
          </p:cNvPr>
          <p:cNvSpPr>
            <a:spLocks noGrp="1"/>
          </p:cNvSpPr>
          <p:nvPr>
            <p:ph type="ftr" sz="quarter" idx="15"/>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9" name="Slide Number Placeholder 8">
            <a:extLst>
              <a:ext uri="{FF2B5EF4-FFF2-40B4-BE49-F238E27FC236}">
                <a16:creationId xmlns:a16="http://schemas.microsoft.com/office/drawing/2014/main" id="{E17C5F25-FC78-4AC8-B664-402A7D2E4050}"/>
              </a:ext>
            </a:extLst>
          </p:cNvPr>
          <p:cNvSpPr>
            <a:spLocks noGrp="1"/>
          </p:cNvSpPr>
          <p:nvPr>
            <p:ph type="sldNum" sz="quarter" idx="16"/>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824814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ice Click-thru">
    <p:bg>
      <p:bgPr>
        <a:solidFill>
          <a:srgbClr val="FFFFFF"/>
        </a:solidFill>
        <a:effectLst/>
      </p:bgPr>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BADC89E-A7EC-4344-801C-8DC943AEA8C3}"/>
              </a:ext>
            </a:extLst>
          </p:cNvPr>
          <p:cNvSpPr/>
          <p:nvPr userDrawn="1"/>
        </p:nvSpPr>
        <p:spPr bwMode="auto">
          <a:xfrm>
            <a:off x="361950" y="1410007"/>
            <a:ext cx="8220075" cy="4849813"/>
          </a:xfrm>
          <a:prstGeom prst="roundRect">
            <a:avLst>
              <a:gd name="adj" fmla="val 2330"/>
            </a:avLst>
          </a:prstGeom>
          <a:solidFill>
            <a:schemeClr val="bg1"/>
          </a:solidFill>
          <a:ln>
            <a:noFill/>
            <a:headEnd type="none" w="med" len="med"/>
            <a:tailEnd type="none" w="med" len="med"/>
          </a:ln>
          <a:effectLst>
            <a:outerShdw blurRad="965200" dist="5842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64454827-4B7D-44BB-882C-053FF0ABC7F2}"/>
              </a:ext>
            </a:extLst>
          </p:cNvPr>
          <p:cNvSpPr>
            <a:spLocks noGrp="1"/>
          </p:cNvSpPr>
          <p:nvPr>
            <p:ph type="pic" sz="quarter" idx="13" hasCustomPrompt="1"/>
          </p:nvPr>
        </p:nvSpPr>
        <p:spPr>
          <a:xfrm>
            <a:off x="584200" y="1662281"/>
            <a:ext cx="7677704" cy="4345267"/>
          </a:xfrm>
          <a:solidFill>
            <a:schemeClr val="bg1"/>
          </a:solidFill>
        </p:spPr>
        <p:txBody>
          <a:bodyPr tIns="1097280" anchor="ctr"/>
          <a:lstStyle>
            <a:lvl1pPr algn="ctr">
              <a:defRPr/>
            </a:lvl1pPr>
          </a:lstStyle>
          <a:p>
            <a:r>
              <a:rPr lang="en-US"/>
              <a:t>Paste UI screen here</a:t>
            </a:r>
          </a:p>
        </p:txBody>
      </p:sp>
      <p:sp>
        <p:nvSpPr>
          <p:cNvPr id="11" name="Text Placeholder 10">
            <a:extLst>
              <a:ext uri="{FF2B5EF4-FFF2-40B4-BE49-F238E27FC236}">
                <a16:creationId xmlns:a16="http://schemas.microsoft.com/office/drawing/2014/main" id="{F93684B5-9189-4D7D-9267-1E750F48DADD}"/>
              </a:ext>
            </a:extLst>
          </p:cNvPr>
          <p:cNvSpPr>
            <a:spLocks noGrp="1"/>
          </p:cNvSpPr>
          <p:nvPr>
            <p:ph type="body" sz="quarter" idx="14" hasCustomPrompt="1"/>
          </p:nvPr>
        </p:nvSpPr>
        <p:spPr>
          <a:xfrm>
            <a:off x="8882064" y="1724332"/>
            <a:ext cx="2724150" cy="4544706"/>
          </a:xfrm>
        </p:spPr>
        <p:txBody>
          <a:bodyPr/>
          <a:lstStyle>
            <a:lvl1pPr>
              <a:spcAft>
                <a:spcPts val="0"/>
              </a:spcAft>
              <a:defRPr sz="1600">
                <a:solidFill>
                  <a:schemeClr val="accent1"/>
                </a:solidFill>
              </a:defRPr>
            </a:lvl1pPr>
            <a:lvl2pPr>
              <a:spcBef>
                <a:spcPts val="600"/>
              </a:spcBef>
              <a:defRPr sz="1400">
                <a:solidFill>
                  <a:schemeClr val="bg1"/>
                </a:solidFill>
              </a:defRPr>
            </a:lvl2pPr>
            <a:lvl3pPr>
              <a:spcBef>
                <a:spcPts val="600"/>
              </a:spcBef>
              <a:buClr>
                <a:schemeClr val="accent1"/>
              </a:buClr>
              <a:defRPr sz="1400">
                <a:solidFill>
                  <a:schemeClr val="bg1"/>
                </a:solidFill>
              </a:defRPr>
            </a:lvl3pPr>
            <a:lvl4pPr>
              <a:spcBef>
                <a:spcPts val="600"/>
              </a:spcBef>
              <a:buClr>
                <a:srgbClr val="0078D4"/>
              </a:buClr>
              <a:defRPr sz="1400">
                <a:solidFill>
                  <a:schemeClr val="bg1"/>
                </a:solidFill>
              </a:defRPr>
            </a:lvl4pPr>
            <a:lvl5pPr>
              <a:spcBef>
                <a:spcPts val="600"/>
              </a:spcBef>
              <a:buClr>
                <a:srgbClr val="0078D4"/>
              </a:buClr>
              <a:defRPr sz="1400">
                <a:solidFill>
                  <a:schemeClr val="bg1"/>
                </a:solidFill>
              </a:defRPr>
            </a:lvl5pPr>
          </a:lstStyle>
          <a:p>
            <a:pPr lvl="0"/>
            <a:r>
              <a:rPr lang="en-US"/>
              <a:t>Add text content here. Use the Increase List Level button to set body text and lis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CA4CD9-0354-427C-A7AE-3C7AAA9D6ABF}"/>
              </a:ext>
            </a:extLst>
          </p:cNvPr>
          <p:cNvSpPr>
            <a:spLocks noGrp="1"/>
          </p:cNvSpPr>
          <p:nvPr>
            <p:ph type="dt" sz="half" idx="15"/>
          </p:nvPr>
        </p:nvSpPr>
        <p:spPr/>
        <p:txBody>
          <a:bodyPr/>
          <a:lstStyle/>
          <a:p>
            <a:r>
              <a:rPr lang="en-US"/>
              <a:t>CONFIDENTIAL</a:t>
            </a:r>
          </a:p>
        </p:txBody>
      </p:sp>
      <p:sp>
        <p:nvSpPr>
          <p:cNvPr id="12" name="Footer Placeholder 11">
            <a:extLst>
              <a:ext uri="{FF2B5EF4-FFF2-40B4-BE49-F238E27FC236}">
                <a16:creationId xmlns:a16="http://schemas.microsoft.com/office/drawing/2014/main" id="{33455FCE-233D-4103-B60B-7A9BD0E1ADBC}"/>
              </a:ext>
            </a:extLst>
          </p:cNvPr>
          <p:cNvSpPr>
            <a:spLocks noGrp="1"/>
          </p:cNvSpPr>
          <p:nvPr>
            <p:ph type="ftr" sz="quarter" idx="16"/>
          </p:nvPr>
        </p:nvSpPr>
        <p:spPr/>
        <p:txBody>
          <a:bodyPr/>
          <a:lstStyle/>
          <a:p>
            <a:r>
              <a:rPr lang="en-US"/>
              <a:t>Microsoft Azure | Cognitive Services</a:t>
            </a:r>
          </a:p>
        </p:txBody>
      </p:sp>
      <p:sp>
        <p:nvSpPr>
          <p:cNvPr id="13" name="Slide Number Placeholder 12">
            <a:extLst>
              <a:ext uri="{FF2B5EF4-FFF2-40B4-BE49-F238E27FC236}">
                <a16:creationId xmlns:a16="http://schemas.microsoft.com/office/drawing/2014/main" id="{3D27EE7C-1FD6-48B2-BC4D-88F37E27A805}"/>
              </a:ext>
            </a:extLst>
          </p:cNvPr>
          <p:cNvSpPr>
            <a:spLocks noGrp="1"/>
          </p:cNvSpPr>
          <p:nvPr>
            <p:ph type="sldNum" sz="quarter" idx="17"/>
          </p:nvPr>
        </p:nvSpPr>
        <p:spPr/>
        <p:txBody>
          <a:bodyPr/>
          <a:lstStyle/>
          <a:p>
            <a:fld id="{92952735-9F7B-40AF-A7B3-40E1B5550C31}" type="slidenum">
              <a:rPr lang="en-US" smtClean="0"/>
              <a:pPr/>
              <a:t>‹#›</a:t>
            </a:fld>
            <a:endParaRPr lang="en-US"/>
          </a:p>
        </p:txBody>
      </p:sp>
      <p:sp>
        <p:nvSpPr>
          <p:cNvPr id="8" name="Title 7">
            <a:extLst>
              <a:ext uri="{FF2B5EF4-FFF2-40B4-BE49-F238E27FC236}">
                <a16:creationId xmlns:a16="http://schemas.microsoft.com/office/drawing/2014/main" id="{6B0C58FE-D126-4AEC-B560-55F69580D7F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20017710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ustomer Story Photo">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47E3E57-E763-49FC-AF15-735BDAC28555}"/>
              </a:ext>
            </a:extLst>
          </p:cNvPr>
          <p:cNvSpPr>
            <a:spLocks noGrp="1"/>
          </p:cNvSpPr>
          <p:nvPr>
            <p:ph type="pic" sz="quarter" idx="15" hasCustomPrompt="1"/>
          </p:nvPr>
        </p:nvSpPr>
        <p:spPr>
          <a:xfrm>
            <a:off x="4053840" y="585788"/>
            <a:ext cx="7555992" cy="5683250"/>
          </a:xfrm>
        </p:spPr>
        <p:txBody>
          <a:bodyPr tIns="457200" anchor="ctr"/>
          <a:lstStyle>
            <a:lvl1pPr algn="ctr">
              <a:defRPr sz="1800">
                <a:solidFill>
                  <a:schemeClr val="bg1"/>
                </a:solidFill>
              </a:defRPr>
            </a:lvl1pPr>
          </a:lstStyle>
          <a:p>
            <a:r>
              <a:rPr lang="en-US"/>
              <a:t>Paste case study phot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8" y="1426742"/>
            <a:ext cx="1859683" cy="933676"/>
          </a:xfrm>
        </p:spPr>
        <p:txBody>
          <a:bodyPr anchor="ctr"/>
          <a:lstStyle>
            <a:lvl1pPr algn="ctr">
              <a:defRPr sz="1200">
                <a:solidFill>
                  <a:schemeClr val="bg1"/>
                </a:solidFill>
              </a:defRPr>
            </a:lvl1pPr>
          </a:lstStyle>
          <a:p>
            <a:pPr lvl="0"/>
            <a:r>
              <a:rPr lang="en-US"/>
              <a:t>Paste customer logo here</a:t>
            </a:r>
          </a:p>
        </p:txBody>
      </p:sp>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8"/>
            <a:ext cx="3085432" cy="307777"/>
          </a:xfrm>
        </p:spPr>
        <p:txBody>
          <a:bodyPr wrap="square" anchor="t" anchorCtr="0"/>
          <a:lstStyle>
            <a:lvl1pPr algn="l">
              <a:defRPr sz="2000">
                <a:solidFill>
                  <a:schemeClr val="accent1"/>
                </a:solidFill>
              </a:defRPr>
            </a:lvl1pPr>
          </a:lstStyle>
          <a:p>
            <a:r>
              <a:rPr lang="en-US"/>
              <a:t>Add case study title here</a:t>
            </a:r>
          </a:p>
        </p:txBody>
      </p:sp>
      <p:sp>
        <p:nvSpPr>
          <p:cNvPr id="2" name="Date Placeholder 1">
            <a:extLst>
              <a:ext uri="{FF2B5EF4-FFF2-40B4-BE49-F238E27FC236}">
                <a16:creationId xmlns:a16="http://schemas.microsoft.com/office/drawing/2014/main" id="{08807A92-9463-40FC-A035-5335244284D6}"/>
              </a:ext>
            </a:extLst>
          </p:cNvPr>
          <p:cNvSpPr>
            <a:spLocks noGrp="1"/>
          </p:cNvSpPr>
          <p:nvPr>
            <p:ph type="dt" sz="half" idx="18"/>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6" name="Footer Placeholder 5">
            <a:extLst>
              <a:ext uri="{FF2B5EF4-FFF2-40B4-BE49-F238E27FC236}">
                <a16:creationId xmlns:a16="http://schemas.microsoft.com/office/drawing/2014/main" id="{9E650FDE-77F8-495B-872D-8B8B6C051F63}"/>
              </a:ext>
            </a:extLst>
          </p:cNvPr>
          <p:cNvSpPr>
            <a:spLocks noGrp="1"/>
          </p:cNvSpPr>
          <p:nvPr>
            <p:ph type="ftr" sz="quarter" idx="19"/>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7" name="Slide Number Placeholder 6">
            <a:extLst>
              <a:ext uri="{FF2B5EF4-FFF2-40B4-BE49-F238E27FC236}">
                <a16:creationId xmlns:a16="http://schemas.microsoft.com/office/drawing/2014/main" id="{976A76DA-14B0-4485-9F9D-854150F18635}"/>
              </a:ext>
            </a:extLst>
          </p:cNvPr>
          <p:cNvSpPr>
            <a:spLocks noGrp="1"/>
          </p:cNvSpPr>
          <p:nvPr>
            <p:ph type="sldNum" sz="quarter" idx="20"/>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10" name="Text Placeholder 10">
            <a:extLst>
              <a:ext uri="{FF2B5EF4-FFF2-40B4-BE49-F238E27FC236}">
                <a16:creationId xmlns:a16="http://schemas.microsoft.com/office/drawing/2014/main" id="{5E095806-AEA6-42C4-ADBE-DF3DD9D6798A}"/>
              </a:ext>
            </a:extLst>
          </p:cNvPr>
          <p:cNvSpPr>
            <a:spLocks noGrp="1"/>
          </p:cNvSpPr>
          <p:nvPr>
            <p:ph type="body" sz="quarter" idx="14" hasCustomPrompt="1"/>
          </p:nvPr>
        </p:nvSpPr>
        <p:spPr>
          <a:xfrm>
            <a:off x="582168" y="2893594"/>
            <a:ext cx="3085432" cy="3375443"/>
          </a:xfrm>
        </p:spPr>
        <p:txBody>
          <a:bodyPr/>
          <a:lstStyle>
            <a:lvl1pPr>
              <a:spcAft>
                <a:spcPts val="0"/>
              </a:spcAft>
              <a:defRPr sz="1600">
                <a:solidFill>
                  <a:schemeClr val="accent1"/>
                </a:solidFill>
              </a:defRPr>
            </a:lvl1pPr>
            <a:lvl2pPr>
              <a:spcBef>
                <a:spcPts val="600"/>
              </a:spcBef>
              <a:defRPr sz="1400">
                <a:solidFill>
                  <a:schemeClr val="bg1"/>
                </a:solidFill>
              </a:defRPr>
            </a:lvl2pPr>
            <a:lvl3pPr>
              <a:spcBef>
                <a:spcPts val="600"/>
              </a:spcBef>
              <a:buClr>
                <a:schemeClr val="accent1"/>
              </a:buClr>
              <a:defRPr sz="1400">
                <a:solidFill>
                  <a:schemeClr val="bg1"/>
                </a:solidFill>
              </a:defRPr>
            </a:lvl3pPr>
            <a:lvl4pPr>
              <a:spcBef>
                <a:spcPts val="600"/>
              </a:spcBef>
              <a:buClr>
                <a:srgbClr val="0078D4"/>
              </a:buClr>
              <a:defRPr sz="1400">
                <a:solidFill>
                  <a:schemeClr val="bg1"/>
                </a:solidFill>
              </a:defRPr>
            </a:lvl4pPr>
            <a:lvl5pPr>
              <a:spcBef>
                <a:spcPts val="600"/>
              </a:spcBef>
              <a:buClr>
                <a:srgbClr val="0078D4"/>
              </a:buClr>
              <a:defRPr sz="1400">
                <a:solidFill>
                  <a:schemeClr val="bg1"/>
                </a:solidFill>
              </a:defRPr>
            </a:lvl5pPr>
          </a:lstStyle>
          <a:p>
            <a:pPr lvl="0"/>
            <a:r>
              <a:rPr lang="en-US"/>
              <a:t>Add text content here. Use the Increase List Level button to set body text and lis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6049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2835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Four Columns - dark mode">
    <p:bg>
      <p:bgPr>
        <a:solidFill>
          <a:srgbClr val="FFFFFF"/>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08A25C-0281-4DFF-A2C0-E0909D049454}"/>
              </a:ext>
            </a:extLst>
          </p:cNvPr>
          <p:cNvSpPr>
            <a:spLocks noGrp="1"/>
          </p:cNvSpPr>
          <p:nvPr>
            <p:ph type="dt" sz="half" idx="17"/>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BF677835-48BF-47C4-B202-74C796629499}"/>
              </a:ext>
            </a:extLst>
          </p:cNvPr>
          <p:cNvSpPr>
            <a:spLocks noGrp="1"/>
          </p:cNvSpPr>
          <p:nvPr>
            <p:ph type="ftr" sz="quarter" idx="18"/>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245EE90F-34A7-4BCC-81F2-7DA5ED7161D6}"/>
              </a:ext>
            </a:extLst>
          </p:cNvPr>
          <p:cNvSpPr>
            <a:spLocks noGrp="1"/>
          </p:cNvSpPr>
          <p:nvPr>
            <p:ph type="sldNum" sz="quarter" idx="19"/>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7" name="Title 6">
            <a:extLst>
              <a:ext uri="{FF2B5EF4-FFF2-40B4-BE49-F238E27FC236}">
                <a16:creationId xmlns:a16="http://schemas.microsoft.com/office/drawing/2014/main" id="{4011FFD8-C26B-4301-8CDE-24F443EEA50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6355C77D-02B3-4B72-8A38-CB3037DD4504}"/>
              </a:ext>
            </a:extLst>
          </p:cNvPr>
          <p:cNvSpPr>
            <a:spLocks noGrp="1"/>
          </p:cNvSpPr>
          <p:nvPr>
            <p:ph sz="quarter" idx="20"/>
          </p:nvPr>
        </p:nvSpPr>
        <p:spPr>
          <a:xfrm>
            <a:off x="58420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7">
            <a:extLst>
              <a:ext uri="{FF2B5EF4-FFF2-40B4-BE49-F238E27FC236}">
                <a16:creationId xmlns:a16="http://schemas.microsoft.com/office/drawing/2014/main" id="{25347867-C3FE-4BBF-9E76-25F77A23A3A9}"/>
              </a:ext>
            </a:extLst>
          </p:cNvPr>
          <p:cNvSpPr>
            <a:spLocks noGrp="1"/>
          </p:cNvSpPr>
          <p:nvPr>
            <p:ph sz="quarter" idx="21"/>
          </p:nvPr>
        </p:nvSpPr>
        <p:spPr>
          <a:xfrm>
            <a:off x="337204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7">
            <a:extLst>
              <a:ext uri="{FF2B5EF4-FFF2-40B4-BE49-F238E27FC236}">
                <a16:creationId xmlns:a16="http://schemas.microsoft.com/office/drawing/2014/main" id="{96BF6733-F9B8-49C8-A274-3121DFF5DCE6}"/>
              </a:ext>
            </a:extLst>
          </p:cNvPr>
          <p:cNvSpPr>
            <a:spLocks noGrp="1"/>
          </p:cNvSpPr>
          <p:nvPr>
            <p:ph sz="quarter" idx="22"/>
          </p:nvPr>
        </p:nvSpPr>
        <p:spPr>
          <a:xfrm>
            <a:off x="615988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7">
            <a:extLst>
              <a:ext uri="{FF2B5EF4-FFF2-40B4-BE49-F238E27FC236}">
                <a16:creationId xmlns:a16="http://schemas.microsoft.com/office/drawing/2014/main" id="{BAD84CD9-BCE4-4547-B936-71C87E189960}"/>
              </a:ext>
            </a:extLst>
          </p:cNvPr>
          <p:cNvSpPr>
            <a:spLocks noGrp="1"/>
          </p:cNvSpPr>
          <p:nvPr>
            <p:ph sz="quarter" idx="23"/>
          </p:nvPr>
        </p:nvSpPr>
        <p:spPr>
          <a:xfrm>
            <a:off x="894772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864610"/>
      </p:ext>
    </p:extLst>
  </p:cSld>
  <p:clrMapOvr>
    <a:masterClrMapping/>
  </p:clrMapOvr>
  <p:transition>
    <p:fade/>
  </p:transition>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Column Images an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EF961-404A-4EA8-B850-543E6C93E6B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3" name="Picture Placeholder 12">
            <a:extLst>
              <a:ext uri="{FF2B5EF4-FFF2-40B4-BE49-F238E27FC236}">
                <a16:creationId xmlns:a16="http://schemas.microsoft.com/office/drawing/2014/main" id="{A5CE1DC5-0CED-45CF-9292-808381BC9220}"/>
              </a:ext>
            </a:extLst>
          </p:cNvPr>
          <p:cNvSpPr>
            <a:spLocks noGrp="1"/>
          </p:cNvSpPr>
          <p:nvPr>
            <p:ph type="pic" sz="quarter" idx="13" hasCustomPrompt="1"/>
          </p:nvPr>
        </p:nvSpPr>
        <p:spPr>
          <a:xfrm>
            <a:off x="0"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4" name="Picture Placeholder 12">
            <a:extLst>
              <a:ext uri="{FF2B5EF4-FFF2-40B4-BE49-F238E27FC236}">
                <a16:creationId xmlns:a16="http://schemas.microsoft.com/office/drawing/2014/main" id="{1A4BB52A-34A7-4588-BF4C-8D66801B21F4}"/>
              </a:ext>
            </a:extLst>
          </p:cNvPr>
          <p:cNvSpPr>
            <a:spLocks noGrp="1"/>
          </p:cNvSpPr>
          <p:nvPr>
            <p:ph type="pic" sz="quarter" idx="14" hasCustomPrompt="1"/>
          </p:nvPr>
        </p:nvSpPr>
        <p:spPr>
          <a:xfrm>
            <a:off x="4054721"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5" name="Picture Placeholder 12">
            <a:extLst>
              <a:ext uri="{FF2B5EF4-FFF2-40B4-BE49-F238E27FC236}">
                <a16:creationId xmlns:a16="http://schemas.microsoft.com/office/drawing/2014/main" id="{A17C0B0F-57E4-4A53-9C1B-1FFFB3C690D4}"/>
              </a:ext>
            </a:extLst>
          </p:cNvPr>
          <p:cNvSpPr>
            <a:spLocks noGrp="1"/>
          </p:cNvSpPr>
          <p:nvPr>
            <p:ph type="pic" sz="quarter" idx="15" hasCustomPrompt="1"/>
          </p:nvPr>
        </p:nvSpPr>
        <p:spPr>
          <a:xfrm>
            <a:off x="8109442"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7" name="Text Placeholder 16">
            <a:extLst>
              <a:ext uri="{FF2B5EF4-FFF2-40B4-BE49-F238E27FC236}">
                <a16:creationId xmlns:a16="http://schemas.microsoft.com/office/drawing/2014/main" id="{4EA1F82C-18F6-41DB-B8B6-7CCF0D0CC9CD}"/>
              </a:ext>
            </a:extLst>
          </p:cNvPr>
          <p:cNvSpPr>
            <a:spLocks noGrp="1"/>
          </p:cNvSpPr>
          <p:nvPr>
            <p:ph type="body" sz="quarter" idx="16" hasCustomPrompt="1"/>
          </p:nvPr>
        </p:nvSpPr>
        <p:spPr>
          <a:xfrm>
            <a:off x="584201"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18" name="Text Placeholder 16">
            <a:extLst>
              <a:ext uri="{FF2B5EF4-FFF2-40B4-BE49-F238E27FC236}">
                <a16:creationId xmlns:a16="http://schemas.microsoft.com/office/drawing/2014/main" id="{48885440-A14C-47EA-87F9-AD59E648429F}"/>
              </a:ext>
            </a:extLst>
          </p:cNvPr>
          <p:cNvSpPr>
            <a:spLocks noGrp="1"/>
          </p:cNvSpPr>
          <p:nvPr>
            <p:ph type="body" sz="quarter" idx="17" hasCustomPrompt="1"/>
          </p:nvPr>
        </p:nvSpPr>
        <p:spPr>
          <a:xfrm>
            <a:off x="4644490"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19" name="Text Placeholder 16">
            <a:extLst>
              <a:ext uri="{FF2B5EF4-FFF2-40B4-BE49-F238E27FC236}">
                <a16:creationId xmlns:a16="http://schemas.microsoft.com/office/drawing/2014/main" id="{BDC1452C-DF24-4C68-A24A-8131FEC9D681}"/>
              </a:ext>
            </a:extLst>
          </p:cNvPr>
          <p:cNvSpPr>
            <a:spLocks noGrp="1"/>
          </p:cNvSpPr>
          <p:nvPr>
            <p:ph type="body" sz="quarter" idx="18" hasCustomPrompt="1"/>
          </p:nvPr>
        </p:nvSpPr>
        <p:spPr>
          <a:xfrm>
            <a:off x="8726488"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20" name="Text Placeholder 16">
            <a:extLst>
              <a:ext uri="{FF2B5EF4-FFF2-40B4-BE49-F238E27FC236}">
                <a16:creationId xmlns:a16="http://schemas.microsoft.com/office/drawing/2014/main" id="{05DF65D0-616F-4F30-AD1B-4F08BE4F3EA2}"/>
              </a:ext>
            </a:extLst>
          </p:cNvPr>
          <p:cNvSpPr>
            <a:spLocks noGrp="1"/>
          </p:cNvSpPr>
          <p:nvPr>
            <p:ph type="body" sz="quarter" idx="19" hasCustomPrompt="1"/>
          </p:nvPr>
        </p:nvSpPr>
        <p:spPr>
          <a:xfrm>
            <a:off x="584201"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21" name="Text Placeholder 16">
            <a:extLst>
              <a:ext uri="{FF2B5EF4-FFF2-40B4-BE49-F238E27FC236}">
                <a16:creationId xmlns:a16="http://schemas.microsoft.com/office/drawing/2014/main" id="{D7AD7234-F81A-4527-98D9-860A66125809}"/>
              </a:ext>
            </a:extLst>
          </p:cNvPr>
          <p:cNvSpPr>
            <a:spLocks noGrp="1"/>
          </p:cNvSpPr>
          <p:nvPr>
            <p:ph type="body" sz="quarter" idx="20" hasCustomPrompt="1"/>
          </p:nvPr>
        </p:nvSpPr>
        <p:spPr>
          <a:xfrm>
            <a:off x="4644490"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22" name="Text Placeholder 16">
            <a:extLst>
              <a:ext uri="{FF2B5EF4-FFF2-40B4-BE49-F238E27FC236}">
                <a16:creationId xmlns:a16="http://schemas.microsoft.com/office/drawing/2014/main" id="{C8B79930-97FC-42BE-B991-F94CB6D64E0C}"/>
              </a:ext>
            </a:extLst>
          </p:cNvPr>
          <p:cNvSpPr>
            <a:spLocks noGrp="1"/>
          </p:cNvSpPr>
          <p:nvPr>
            <p:ph type="body" sz="quarter" idx="21" hasCustomPrompt="1"/>
          </p:nvPr>
        </p:nvSpPr>
        <p:spPr>
          <a:xfrm>
            <a:off x="8726488"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3" name="Date Placeholder 2">
            <a:extLst>
              <a:ext uri="{FF2B5EF4-FFF2-40B4-BE49-F238E27FC236}">
                <a16:creationId xmlns:a16="http://schemas.microsoft.com/office/drawing/2014/main" id="{6F8B3261-B7C3-4469-AA50-A2F11218BC06}"/>
              </a:ext>
            </a:extLst>
          </p:cNvPr>
          <p:cNvSpPr>
            <a:spLocks noGrp="1"/>
          </p:cNvSpPr>
          <p:nvPr>
            <p:ph type="dt" sz="half" idx="22"/>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0044C561-4DEA-4F2E-B927-B60C11E98304}"/>
              </a:ext>
            </a:extLst>
          </p:cNvPr>
          <p:cNvSpPr>
            <a:spLocks noGrp="1"/>
          </p:cNvSpPr>
          <p:nvPr>
            <p:ph type="ftr" sz="quarter" idx="23"/>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FC03B0DD-8743-459F-9467-6ECC83A2280B}"/>
              </a:ext>
            </a:extLst>
          </p:cNvPr>
          <p:cNvSpPr>
            <a:spLocks noGrp="1"/>
          </p:cNvSpPr>
          <p:nvPr>
            <p:ph type="sldNum" sz="quarter" idx="24"/>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412033153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pillar metrics">
    <p:bg>
      <p:bgPr>
        <a:solidFill>
          <a:srgbClr val="FFFFFF"/>
        </a:solidFill>
        <a:effectLst/>
      </p:bgPr>
    </p:bg>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F699A688-8F8B-45BD-99D1-6B3A810A5B25}"/>
              </a:ext>
            </a:extLst>
          </p:cNvPr>
          <p:cNvSpPr>
            <a:spLocks noGrp="1"/>
          </p:cNvSpPr>
          <p:nvPr>
            <p:ph type="body" sz="quarter" idx="14" hasCustomPrompt="1"/>
          </p:nvPr>
        </p:nvSpPr>
        <p:spPr>
          <a:xfrm>
            <a:off x="4358641"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9" name="Text Placeholder 24">
            <a:extLst>
              <a:ext uri="{FF2B5EF4-FFF2-40B4-BE49-F238E27FC236}">
                <a16:creationId xmlns:a16="http://schemas.microsoft.com/office/drawing/2014/main" id="{0AD0BBF9-DF47-4193-9300-CE4E568D1F3F}"/>
              </a:ext>
            </a:extLst>
          </p:cNvPr>
          <p:cNvSpPr>
            <a:spLocks noGrp="1"/>
          </p:cNvSpPr>
          <p:nvPr>
            <p:ph type="body" sz="quarter" idx="17" hasCustomPrompt="1"/>
          </p:nvPr>
        </p:nvSpPr>
        <p:spPr>
          <a:xfrm>
            <a:off x="4358641"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2" name="Text Placeholder 24">
            <a:extLst>
              <a:ext uri="{FF2B5EF4-FFF2-40B4-BE49-F238E27FC236}">
                <a16:creationId xmlns:a16="http://schemas.microsoft.com/office/drawing/2014/main" id="{E35A8436-C3D5-4D8C-A298-A1F6E6666840}"/>
              </a:ext>
            </a:extLst>
          </p:cNvPr>
          <p:cNvSpPr>
            <a:spLocks noGrp="1"/>
          </p:cNvSpPr>
          <p:nvPr>
            <p:ph type="body" sz="quarter" idx="20" hasCustomPrompt="1"/>
          </p:nvPr>
        </p:nvSpPr>
        <p:spPr>
          <a:xfrm>
            <a:off x="4358641"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5" name="Text Placeholder 24">
            <a:extLst>
              <a:ext uri="{FF2B5EF4-FFF2-40B4-BE49-F238E27FC236}">
                <a16:creationId xmlns:a16="http://schemas.microsoft.com/office/drawing/2014/main" id="{81979F88-AF4E-4686-9701-BAABEF1F9691}"/>
              </a:ext>
            </a:extLst>
          </p:cNvPr>
          <p:cNvSpPr>
            <a:spLocks noGrp="1"/>
          </p:cNvSpPr>
          <p:nvPr>
            <p:ph type="body" sz="quarter" idx="23" hasCustomPrompt="1"/>
          </p:nvPr>
        </p:nvSpPr>
        <p:spPr>
          <a:xfrm>
            <a:off x="4358641"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3395417" cy="372410"/>
          </a:xfrm>
        </p:spPr>
        <p:txBody>
          <a:bodyPr wrap="none" tIns="64008"/>
          <a:lstStyle>
            <a:lvl1pPr>
              <a:defRPr sz="2000" spc="0">
                <a:solidFill>
                  <a:schemeClr val="accent1"/>
                </a:solidFill>
                <a:latin typeface="+mj-lt"/>
                <a:cs typeface="Segoe UI" panose="020B0502040204020203" pitchFamily="34" charset="0"/>
              </a:defRPr>
            </a:lvl1pPr>
          </a:lstStyle>
          <a:p>
            <a:r>
              <a:rPr lang="en-US"/>
              <a:t>Click to edit Master title style</a:t>
            </a:r>
          </a:p>
        </p:txBody>
      </p:sp>
      <p:sp>
        <p:nvSpPr>
          <p:cNvPr id="25" name="Text Placeholder 24">
            <a:extLst>
              <a:ext uri="{FF2B5EF4-FFF2-40B4-BE49-F238E27FC236}">
                <a16:creationId xmlns:a16="http://schemas.microsoft.com/office/drawing/2014/main" id="{967FB49B-6B7D-4FC6-A2D7-855A1E4A1814}"/>
              </a:ext>
            </a:extLst>
          </p:cNvPr>
          <p:cNvSpPr>
            <a:spLocks noGrp="1"/>
          </p:cNvSpPr>
          <p:nvPr>
            <p:ph type="body" sz="quarter" idx="13" hasCustomPrompt="1"/>
          </p:nvPr>
        </p:nvSpPr>
        <p:spPr>
          <a:xfrm>
            <a:off x="590868"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7" name="Text Placeholder 24">
            <a:extLst>
              <a:ext uri="{FF2B5EF4-FFF2-40B4-BE49-F238E27FC236}">
                <a16:creationId xmlns:a16="http://schemas.microsoft.com/office/drawing/2014/main" id="{BE30F7DA-3E56-4E14-93F8-CABA82A5BA53}"/>
              </a:ext>
            </a:extLst>
          </p:cNvPr>
          <p:cNvSpPr>
            <a:spLocks noGrp="1"/>
          </p:cNvSpPr>
          <p:nvPr>
            <p:ph type="body" sz="quarter" idx="15" hasCustomPrompt="1"/>
          </p:nvPr>
        </p:nvSpPr>
        <p:spPr>
          <a:xfrm>
            <a:off x="8117301"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8" name="Text Placeholder 24">
            <a:extLst>
              <a:ext uri="{FF2B5EF4-FFF2-40B4-BE49-F238E27FC236}">
                <a16:creationId xmlns:a16="http://schemas.microsoft.com/office/drawing/2014/main" id="{2606B5EF-2971-4CFC-B236-1A2E1A910C4D}"/>
              </a:ext>
            </a:extLst>
          </p:cNvPr>
          <p:cNvSpPr>
            <a:spLocks noGrp="1"/>
          </p:cNvSpPr>
          <p:nvPr>
            <p:ph type="body" sz="quarter" idx="16" hasCustomPrompt="1"/>
          </p:nvPr>
        </p:nvSpPr>
        <p:spPr>
          <a:xfrm>
            <a:off x="590868"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0" name="Text Placeholder 24">
            <a:extLst>
              <a:ext uri="{FF2B5EF4-FFF2-40B4-BE49-F238E27FC236}">
                <a16:creationId xmlns:a16="http://schemas.microsoft.com/office/drawing/2014/main" id="{8CD342FD-8FE8-4E5D-8B4B-6E8C644567B2}"/>
              </a:ext>
            </a:extLst>
          </p:cNvPr>
          <p:cNvSpPr>
            <a:spLocks noGrp="1"/>
          </p:cNvSpPr>
          <p:nvPr>
            <p:ph type="body" sz="quarter" idx="18" hasCustomPrompt="1"/>
          </p:nvPr>
        </p:nvSpPr>
        <p:spPr>
          <a:xfrm>
            <a:off x="8117301"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1" name="Text Placeholder 24">
            <a:extLst>
              <a:ext uri="{FF2B5EF4-FFF2-40B4-BE49-F238E27FC236}">
                <a16:creationId xmlns:a16="http://schemas.microsoft.com/office/drawing/2014/main" id="{BAEBF647-C418-4A9F-8CC0-E63E5095CD55}"/>
              </a:ext>
            </a:extLst>
          </p:cNvPr>
          <p:cNvSpPr>
            <a:spLocks noGrp="1"/>
          </p:cNvSpPr>
          <p:nvPr>
            <p:ph type="body" sz="quarter" idx="19" hasCustomPrompt="1"/>
          </p:nvPr>
        </p:nvSpPr>
        <p:spPr>
          <a:xfrm>
            <a:off x="590868"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3" name="Text Placeholder 24">
            <a:extLst>
              <a:ext uri="{FF2B5EF4-FFF2-40B4-BE49-F238E27FC236}">
                <a16:creationId xmlns:a16="http://schemas.microsoft.com/office/drawing/2014/main" id="{F30D6C75-5DF9-4734-BB0A-F5B34011A286}"/>
              </a:ext>
            </a:extLst>
          </p:cNvPr>
          <p:cNvSpPr>
            <a:spLocks noGrp="1"/>
          </p:cNvSpPr>
          <p:nvPr>
            <p:ph type="body" sz="quarter" idx="21" hasCustomPrompt="1"/>
          </p:nvPr>
        </p:nvSpPr>
        <p:spPr>
          <a:xfrm>
            <a:off x="8117301"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4" name="Text Placeholder 24">
            <a:extLst>
              <a:ext uri="{FF2B5EF4-FFF2-40B4-BE49-F238E27FC236}">
                <a16:creationId xmlns:a16="http://schemas.microsoft.com/office/drawing/2014/main" id="{BE1B80CA-59DE-40D8-8C1B-D35C3107392B}"/>
              </a:ext>
            </a:extLst>
          </p:cNvPr>
          <p:cNvSpPr>
            <a:spLocks noGrp="1"/>
          </p:cNvSpPr>
          <p:nvPr>
            <p:ph type="body" sz="quarter" idx="22" hasCustomPrompt="1"/>
          </p:nvPr>
        </p:nvSpPr>
        <p:spPr>
          <a:xfrm>
            <a:off x="590868"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6" name="Text Placeholder 24">
            <a:extLst>
              <a:ext uri="{FF2B5EF4-FFF2-40B4-BE49-F238E27FC236}">
                <a16:creationId xmlns:a16="http://schemas.microsoft.com/office/drawing/2014/main" id="{933C9474-5D96-473D-890E-E79980226D9E}"/>
              </a:ext>
            </a:extLst>
          </p:cNvPr>
          <p:cNvSpPr>
            <a:spLocks noGrp="1"/>
          </p:cNvSpPr>
          <p:nvPr>
            <p:ph type="body" sz="quarter" idx="24" hasCustomPrompt="1"/>
          </p:nvPr>
        </p:nvSpPr>
        <p:spPr>
          <a:xfrm>
            <a:off x="8117301"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 name="Date Placeholder 2">
            <a:extLst>
              <a:ext uri="{FF2B5EF4-FFF2-40B4-BE49-F238E27FC236}">
                <a16:creationId xmlns:a16="http://schemas.microsoft.com/office/drawing/2014/main" id="{B64B8491-6F6F-46BA-8F08-1EDAC84FEC58}"/>
              </a:ext>
            </a:extLst>
          </p:cNvPr>
          <p:cNvSpPr>
            <a:spLocks noGrp="1"/>
          </p:cNvSpPr>
          <p:nvPr>
            <p:ph type="dt" sz="half" idx="25"/>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2E5996C0-D9F1-4AD5-8ACC-3B922F3D136D}"/>
              </a:ext>
            </a:extLst>
          </p:cNvPr>
          <p:cNvSpPr>
            <a:spLocks noGrp="1"/>
          </p:cNvSpPr>
          <p:nvPr>
            <p:ph type="ftr" sz="quarter" idx="26"/>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53563B9C-CD74-4456-B5F7-49BDEF531F02}"/>
              </a:ext>
            </a:extLst>
          </p:cNvPr>
          <p:cNvSpPr>
            <a:spLocks noGrp="1"/>
          </p:cNvSpPr>
          <p:nvPr>
            <p:ph type="sldNum" sz="quarter" idx="27"/>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502824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gnitive Services Team">
    <p:bg>
      <p:bgPr>
        <a:solidFill>
          <a:srgbClr val="FFFFFF"/>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58420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83171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07923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557426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32674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931680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682177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806929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893803" y="2313524"/>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2141405"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389007"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636609"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5884211"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131813"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8379415"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9627017"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584201" y="2526442"/>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83171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07923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557426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32674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931680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682177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806929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893803" y="3554126"/>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2141405"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389007"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636609"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5884211"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131813"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8379415"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9627017"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584201" y="3767044"/>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83171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07923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557426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32674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931680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682177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806929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893803" y="4794728"/>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2141405"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389007"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636609"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5884211"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131813"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8379415"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9627017"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602856" y="5007646"/>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848039"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093222"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5583588"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338405"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9319137"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6828771"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8073954"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912458" y="6035328"/>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215772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40299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64826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589353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13880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838407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962934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6" name="Title 2">
            <a:extLst>
              <a:ext uri="{FF2B5EF4-FFF2-40B4-BE49-F238E27FC236}">
                <a16:creationId xmlns:a16="http://schemas.microsoft.com/office/drawing/2014/main" id="{BFDD2E0A-92E6-48F9-9E6E-50293F75B84C}"/>
              </a:ext>
            </a:extLst>
          </p:cNvPr>
          <p:cNvSpPr>
            <a:spLocks noGrp="1"/>
          </p:cNvSpPr>
          <p:nvPr>
            <p:ph type="title"/>
          </p:nvPr>
        </p:nvSpPr>
        <p:spPr>
          <a:xfrm>
            <a:off x="584200" y="457200"/>
            <a:ext cx="3395417" cy="372410"/>
          </a:xfrm>
        </p:spPr>
        <p:txBody>
          <a:bodyPr wrap="none" tIns="64008" anchor="t"/>
          <a:lstStyle>
            <a:lvl1pPr>
              <a:defRPr sz="2000" spc="0">
                <a:solidFill>
                  <a:schemeClr val="accent1"/>
                </a:solidFill>
                <a:latin typeface="+mj-lt"/>
                <a:cs typeface="Segoe UI" panose="020B0502040204020203" pitchFamily="34" charset="0"/>
              </a:defRPr>
            </a:lvl1pPr>
          </a:lstStyle>
          <a:p>
            <a:r>
              <a:rPr lang="en-US"/>
              <a:t>Click to edit Master title style</a:t>
            </a:r>
          </a:p>
        </p:txBody>
      </p:sp>
      <p:sp>
        <p:nvSpPr>
          <p:cNvPr id="67" name="Picture Placeholder 2">
            <a:extLst>
              <a:ext uri="{FF2B5EF4-FFF2-40B4-BE49-F238E27FC236}">
                <a16:creationId xmlns:a16="http://schemas.microsoft.com/office/drawing/2014/main" id="{CB150EF0-DD65-4586-9DEA-A5D33793162E}"/>
              </a:ext>
            </a:extLst>
          </p:cNvPr>
          <p:cNvSpPr>
            <a:spLocks noGrp="1"/>
          </p:cNvSpPr>
          <p:nvPr>
            <p:ph type="pic" sz="quarter" idx="297" hasCustomPrompt="1"/>
          </p:nvPr>
        </p:nvSpPr>
        <p:spPr>
          <a:xfrm>
            <a:off x="10564320"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8" name="Text Placeholder 3">
            <a:extLst>
              <a:ext uri="{FF2B5EF4-FFF2-40B4-BE49-F238E27FC236}">
                <a16:creationId xmlns:a16="http://schemas.microsoft.com/office/drawing/2014/main" id="{8C923A8E-FA3A-4D67-A5EB-5645B59A2C43}"/>
              </a:ext>
            </a:extLst>
          </p:cNvPr>
          <p:cNvSpPr>
            <a:spLocks noGrp="1"/>
          </p:cNvSpPr>
          <p:nvPr>
            <p:ph type="body" sz="quarter" idx="298" hasCustomPrompt="1"/>
          </p:nvPr>
        </p:nvSpPr>
        <p:spPr>
          <a:xfrm>
            <a:off x="10874620"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9" name="Picture Placeholder 2">
            <a:extLst>
              <a:ext uri="{FF2B5EF4-FFF2-40B4-BE49-F238E27FC236}">
                <a16:creationId xmlns:a16="http://schemas.microsoft.com/office/drawing/2014/main" id="{8350C3AF-DBA2-42D4-AEB9-DAA9F17602BD}"/>
              </a:ext>
            </a:extLst>
          </p:cNvPr>
          <p:cNvSpPr>
            <a:spLocks noGrp="1"/>
          </p:cNvSpPr>
          <p:nvPr>
            <p:ph type="pic" sz="quarter" idx="299" hasCustomPrompt="1"/>
          </p:nvPr>
        </p:nvSpPr>
        <p:spPr>
          <a:xfrm>
            <a:off x="10564320"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0" name="Text Placeholder 3">
            <a:extLst>
              <a:ext uri="{FF2B5EF4-FFF2-40B4-BE49-F238E27FC236}">
                <a16:creationId xmlns:a16="http://schemas.microsoft.com/office/drawing/2014/main" id="{97DFFFDD-DB1F-4927-9389-F798629B19C9}"/>
              </a:ext>
            </a:extLst>
          </p:cNvPr>
          <p:cNvSpPr>
            <a:spLocks noGrp="1"/>
          </p:cNvSpPr>
          <p:nvPr>
            <p:ph type="body" sz="quarter" idx="300" hasCustomPrompt="1"/>
          </p:nvPr>
        </p:nvSpPr>
        <p:spPr>
          <a:xfrm>
            <a:off x="10874620"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71" name="Picture Placeholder 2">
            <a:extLst>
              <a:ext uri="{FF2B5EF4-FFF2-40B4-BE49-F238E27FC236}">
                <a16:creationId xmlns:a16="http://schemas.microsoft.com/office/drawing/2014/main" id="{D13A9243-2647-4BCD-A21E-5EA820E03472}"/>
              </a:ext>
            </a:extLst>
          </p:cNvPr>
          <p:cNvSpPr>
            <a:spLocks noGrp="1"/>
          </p:cNvSpPr>
          <p:nvPr>
            <p:ph type="pic" sz="quarter" idx="301" hasCustomPrompt="1"/>
          </p:nvPr>
        </p:nvSpPr>
        <p:spPr>
          <a:xfrm>
            <a:off x="10564320"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5" name="Text Placeholder 3">
            <a:extLst>
              <a:ext uri="{FF2B5EF4-FFF2-40B4-BE49-F238E27FC236}">
                <a16:creationId xmlns:a16="http://schemas.microsoft.com/office/drawing/2014/main" id="{B640DEA3-5070-49B5-9CFC-8C84A8D9893B}"/>
              </a:ext>
            </a:extLst>
          </p:cNvPr>
          <p:cNvSpPr>
            <a:spLocks noGrp="1"/>
          </p:cNvSpPr>
          <p:nvPr>
            <p:ph type="body" sz="quarter" idx="302" hasCustomPrompt="1"/>
          </p:nvPr>
        </p:nvSpPr>
        <p:spPr>
          <a:xfrm>
            <a:off x="10874620"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76" name="Picture Placeholder 2">
            <a:extLst>
              <a:ext uri="{FF2B5EF4-FFF2-40B4-BE49-F238E27FC236}">
                <a16:creationId xmlns:a16="http://schemas.microsoft.com/office/drawing/2014/main" id="{19721299-21F0-4011-BEB0-AF9B7EAD0DFE}"/>
              </a:ext>
            </a:extLst>
          </p:cNvPr>
          <p:cNvSpPr>
            <a:spLocks noGrp="1"/>
          </p:cNvSpPr>
          <p:nvPr>
            <p:ph type="pic" sz="quarter" idx="303" hasCustomPrompt="1"/>
          </p:nvPr>
        </p:nvSpPr>
        <p:spPr>
          <a:xfrm>
            <a:off x="10564320"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7" name="Text Placeholder 3">
            <a:extLst>
              <a:ext uri="{FF2B5EF4-FFF2-40B4-BE49-F238E27FC236}">
                <a16:creationId xmlns:a16="http://schemas.microsoft.com/office/drawing/2014/main" id="{8F73A5F5-D62C-410D-B3E4-E23E354355CF}"/>
              </a:ext>
            </a:extLst>
          </p:cNvPr>
          <p:cNvSpPr>
            <a:spLocks noGrp="1"/>
          </p:cNvSpPr>
          <p:nvPr>
            <p:ph type="body" sz="quarter" idx="304" hasCustomPrompt="1"/>
          </p:nvPr>
        </p:nvSpPr>
        <p:spPr>
          <a:xfrm>
            <a:off x="10874620"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8" name="Date Placeholder 7">
            <a:extLst>
              <a:ext uri="{FF2B5EF4-FFF2-40B4-BE49-F238E27FC236}">
                <a16:creationId xmlns:a16="http://schemas.microsoft.com/office/drawing/2014/main" id="{FC6CC89F-8F1E-4934-B11A-2FD7566CB30D}"/>
              </a:ext>
            </a:extLst>
          </p:cNvPr>
          <p:cNvSpPr>
            <a:spLocks noGrp="1"/>
          </p:cNvSpPr>
          <p:nvPr>
            <p:ph type="dt" sz="half" idx="305"/>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9" name="Footer Placeholder 8">
            <a:extLst>
              <a:ext uri="{FF2B5EF4-FFF2-40B4-BE49-F238E27FC236}">
                <a16:creationId xmlns:a16="http://schemas.microsoft.com/office/drawing/2014/main" id="{275DB285-995A-46FA-9B52-DB2F1890D79D}"/>
              </a:ext>
            </a:extLst>
          </p:cNvPr>
          <p:cNvSpPr>
            <a:spLocks noGrp="1"/>
          </p:cNvSpPr>
          <p:nvPr>
            <p:ph type="ftr" sz="quarter" idx="306"/>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10" name="Slide Number Placeholder 9">
            <a:extLst>
              <a:ext uri="{FF2B5EF4-FFF2-40B4-BE49-F238E27FC236}">
                <a16:creationId xmlns:a16="http://schemas.microsoft.com/office/drawing/2014/main" id="{248EAD86-2DD5-4DF9-A9AC-3020DC4BC5BD}"/>
              </a:ext>
            </a:extLst>
          </p:cNvPr>
          <p:cNvSpPr>
            <a:spLocks noGrp="1"/>
          </p:cNvSpPr>
          <p:nvPr>
            <p:ph type="sldNum" sz="quarter" idx="307"/>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340259509"/>
      </p:ext>
    </p:extLst>
  </p:cSld>
  <p:clrMapOvr>
    <a:masterClrMapping/>
  </p:clrMapOvr>
  <p:transition>
    <p:fade/>
  </p:transition>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1662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7647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Section Header 2">
    <p:bg>
      <p:bgPr>
        <a:solidFill>
          <a:schemeClr val="bg2">
            <a:lumMod val="1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B464F7-3E18-8D49-8884-810AF6DE118C}"/>
              </a:ext>
            </a:extLst>
          </p:cNvPr>
          <p:cNvSpPr>
            <a:spLocks noGrp="1"/>
          </p:cNvSpPr>
          <p:nvPr>
            <p:ph type="body" sz="quarter" idx="13" hasCustomPrompt="1"/>
          </p:nvPr>
        </p:nvSpPr>
        <p:spPr>
          <a:xfrm>
            <a:off x="1066800" y="2773681"/>
            <a:ext cx="10058400" cy="909574"/>
          </a:xfrm>
        </p:spPr>
        <p:txBody>
          <a:bodyPr anchor="ctr">
            <a:noAutofit/>
          </a:bodyPr>
          <a:lstStyle>
            <a:lvl1pPr marL="0" indent="0" algn="l">
              <a:buNone/>
              <a:defRPr sz="4800" b="1" i="0">
                <a:solidFill>
                  <a:srgbClr val="E957A0"/>
                </a:solidFill>
                <a:effectLst>
                  <a:outerShdw blurRad="184292" dist="86304" dir="5340000" sx="98581" sy="98581" algn="ctr" rotWithShape="0">
                    <a:srgbClr val="000000">
                      <a:alpha val="11153"/>
                    </a:srgbClr>
                  </a:outerShdw>
                </a:effectLst>
                <a:latin typeface="Segoe UI" panose="020B0502040204020203" pitchFamily="34" charset="0"/>
                <a:ea typeface="Gill Sans Nova" panose="020B0602020104020203" pitchFamily="34" charset="-128"/>
                <a:cs typeface="Segoe UI" panose="020B0502040204020203" pitchFamily="34" charset="0"/>
              </a:defRPr>
            </a:lvl1pPr>
          </a:lstStyle>
          <a:p>
            <a:pPr lvl="0"/>
            <a:r>
              <a:rPr lang="en-US"/>
              <a:t>Enter slide section title here</a:t>
            </a:r>
          </a:p>
        </p:txBody>
      </p:sp>
      <p:sp>
        <p:nvSpPr>
          <p:cNvPr id="4" name="Text Placeholder 5">
            <a:extLst>
              <a:ext uri="{FF2B5EF4-FFF2-40B4-BE49-F238E27FC236}">
                <a16:creationId xmlns:a16="http://schemas.microsoft.com/office/drawing/2014/main" id="{649DCD15-3B12-5E46-963B-BBF55B5A5FFA}"/>
              </a:ext>
            </a:extLst>
          </p:cNvPr>
          <p:cNvSpPr>
            <a:spLocks noGrp="1"/>
          </p:cNvSpPr>
          <p:nvPr>
            <p:ph type="body" sz="quarter" idx="10" hasCustomPrompt="1"/>
          </p:nvPr>
        </p:nvSpPr>
        <p:spPr>
          <a:xfrm>
            <a:off x="1066800" y="3695637"/>
            <a:ext cx="3627120" cy="459804"/>
          </a:xfrm>
        </p:spPr>
        <p:txBody>
          <a:bodyPr anchor="ctr">
            <a:noAutofit/>
          </a:bodyPr>
          <a:lstStyle>
            <a:lvl1pPr marL="0" indent="0">
              <a:buNone/>
              <a:defRPr sz="20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None/>
              <a:defRPr/>
            </a:lvl5pPr>
          </a:lstStyle>
          <a:p>
            <a:pPr lvl="0"/>
            <a:r>
              <a:rPr lang="en-US"/>
              <a:t>Subtitle section here</a:t>
            </a:r>
          </a:p>
        </p:txBody>
      </p:sp>
    </p:spTree>
    <p:extLst>
      <p:ext uri="{BB962C8B-B14F-4D97-AF65-F5344CB8AC3E}">
        <p14:creationId xmlns:p14="http://schemas.microsoft.com/office/powerpoint/2010/main" val="2182972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D64355-1792-46D2-81CC-6F1D81946122}" type="datetimeFigureOut">
              <a:rPr lang="en-US" smtClean="0"/>
              <a:t>4/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40F54-E8CE-430F-B197-8E018B1D0062}" type="slidenum">
              <a:rPr lang="en-US" smtClean="0"/>
              <a:t>‹#›</a:t>
            </a:fld>
            <a:endParaRPr lang="en-US"/>
          </a:p>
        </p:txBody>
      </p:sp>
    </p:spTree>
    <p:extLst>
      <p:ext uri="{BB962C8B-B14F-4D97-AF65-F5344CB8AC3E}">
        <p14:creationId xmlns:p14="http://schemas.microsoft.com/office/powerpoint/2010/main" val="41365634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588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995405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76190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5450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82808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79977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FB5DA-5422-4E11-AA46-0D5245B01B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A14CBBB7-219A-41ED-88D1-DD56268AE9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22866B-BDEA-4E5A-98B3-EFEDD14EDC82}"/>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5" name="Footer Placeholder 4">
            <a:extLst>
              <a:ext uri="{FF2B5EF4-FFF2-40B4-BE49-F238E27FC236}">
                <a16:creationId xmlns:a16="http://schemas.microsoft.com/office/drawing/2014/main" id="{7BC940C6-F213-48B5-B3B0-95D527DA04B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560B3A4A-F53B-4067-A957-CE9B83826C7B}"/>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76875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4921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2492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64950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3596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068994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9617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55500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056178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8724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14862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F183-46C2-46BD-8E9C-70B6C50A0745}"/>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EA4B75E-AB52-48EB-A6F3-3B1CFB7C24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61163D5D-0314-49E1-BE1B-7288D9652C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E065547C-2E00-42F3-8D8C-32730103BDDE}"/>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6" name="Footer Placeholder 5">
            <a:extLst>
              <a:ext uri="{FF2B5EF4-FFF2-40B4-BE49-F238E27FC236}">
                <a16:creationId xmlns:a16="http://schemas.microsoft.com/office/drawing/2014/main" id="{1AAD4103-8515-4F74-B451-1EDFF42813F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48B654E-ABC9-452B-A08D-C61F6D5B6BD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647352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8640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5313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9299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73806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39054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7799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98603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99508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4064137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10674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9D08B-99D0-458A-BB69-CC17B6545657}"/>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833CFF9-BEA4-485E-9F08-434BF5CE84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BC364F-14FB-464D-B9D8-4652AF9699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2C297E14-5CB6-48A8-BD30-70F7026C5B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1DE37E-1D97-4ABD-B15E-1CBEA51DC4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FBDA0BC-BFB3-4559-932E-93E5413B04E0}"/>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8" name="Footer Placeholder 7">
            <a:extLst>
              <a:ext uri="{FF2B5EF4-FFF2-40B4-BE49-F238E27FC236}">
                <a16:creationId xmlns:a16="http://schemas.microsoft.com/office/drawing/2014/main" id="{5C4FFA15-9134-4176-9B6A-1054C35BC76D}"/>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793EA5C6-1BE6-4B82-B734-CE87F258A76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4180534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22123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661705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94467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0734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1178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12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953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01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821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69019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56B69-FB1C-4005-BC53-4CA352324F91}"/>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33BD5F92-37D9-425A-BDF6-7BFCCE7B791F}"/>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4" name="Footer Placeholder 3">
            <a:extLst>
              <a:ext uri="{FF2B5EF4-FFF2-40B4-BE49-F238E27FC236}">
                <a16:creationId xmlns:a16="http://schemas.microsoft.com/office/drawing/2014/main" id="{81FDB8BB-588E-45AB-9F65-D6C33D58BB2B}"/>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D8866F53-3078-4D62-A655-C069896689DF}"/>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053568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45801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75249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466468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210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19085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232545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1066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2930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12175398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6339955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A26BA9-D34A-4928-94AE-E0E872E0B6C6}"/>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3" name="Footer Placeholder 2">
            <a:extLst>
              <a:ext uri="{FF2B5EF4-FFF2-40B4-BE49-F238E27FC236}">
                <a16:creationId xmlns:a16="http://schemas.microsoft.com/office/drawing/2014/main" id="{97F50D98-52D9-4E1F-BF1A-E87610BF21B0}"/>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8ECB8045-E3BA-4F7C-B831-C9285EAB4CE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8804569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477495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461047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19007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748573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1736963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973012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592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786723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8156161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8793323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F7D9F-B214-497D-82EE-290983C51A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48AA4984-4324-482F-BFA8-E077E09853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8DED0C66-5805-4271-830E-149159F18B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61672F-E491-4B2B-BDA5-1E9889F75909}"/>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6" name="Footer Placeholder 5">
            <a:extLst>
              <a:ext uri="{FF2B5EF4-FFF2-40B4-BE49-F238E27FC236}">
                <a16:creationId xmlns:a16="http://schemas.microsoft.com/office/drawing/2014/main" id="{1BFC6785-1488-4921-B9E8-31E08CFEDC3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29012ED7-3196-4F06-BBF6-87357B81D84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132478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6368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407869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8901828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8292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6691381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032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350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91A35-1051-1239-7813-5C59D6AB15F6}"/>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2FC31C4A-F377-358D-97BE-30B0F87DCF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9F705FF7-CA55-C23A-A888-59488CCB9891}"/>
              </a:ext>
            </a:extLst>
          </p:cNvPr>
          <p:cNvSpPr>
            <a:spLocks noGrp="1"/>
          </p:cNvSpPr>
          <p:nvPr>
            <p:ph type="dt" sz="half" idx="10"/>
          </p:nvPr>
        </p:nvSpPr>
        <p:spPr/>
        <p:txBody>
          <a:bodyPr/>
          <a:lstStyle/>
          <a:p>
            <a:fld id="{680F1A88-42E8-4631-8731-DF875B121CDE}" type="datetimeFigureOut">
              <a:rPr lang="en-IE" smtClean="0"/>
              <a:t>29/04/2024</a:t>
            </a:fld>
            <a:endParaRPr lang="en-IE"/>
          </a:p>
        </p:txBody>
      </p:sp>
      <p:sp>
        <p:nvSpPr>
          <p:cNvPr id="5" name="Footer Placeholder 4">
            <a:extLst>
              <a:ext uri="{FF2B5EF4-FFF2-40B4-BE49-F238E27FC236}">
                <a16:creationId xmlns:a16="http://schemas.microsoft.com/office/drawing/2014/main" id="{9C0CAF31-BBEB-78D0-2514-089D0CEDFE5E}"/>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62D76AB-47FA-2728-4752-0D6D28FB9EFC}"/>
              </a:ext>
            </a:extLst>
          </p:cNvPr>
          <p:cNvSpPr>
            <a:spLocks noGrp="1"/>
          </p:cNvSpPr>
          <p:nvPr>
            <p:ph type="sldNum" sz="quarter" idx="12"/>
          </p:nvPr>
        </p:nvSpPr>
        <p:spPr/>
        <p:txBody>
          <a:bodyPr/>
          <a:lstStyle/>
          <a:p>
            <a:fld id="{9655432D-813F-4A2A-86E4-B9700B826FEE}" type="slidenum">
              <a:rPr lang="en-IE" smtClean="0"/>
              <a:t>‹#›</a:t>
            </a:fld>
            <a:endParaRPr lang="en-IE"/>
          </a:p>
        </p:txBody>
      </p:sp>
    </p:spTree>
    <p:extLst>
      <p:ext uri="{BB962C8B-B14F-4D97-AF65-F5344CB8AC3E}">
        <p14:creationId xmlns:p14="http://schemas.microsoft.com/office/powerpoint/2010/main" val="30762567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8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408544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F66B-61A6-4545-A9D4-E99EF92745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2820BFA9-4969-4743-9BC9-F82210B654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76AEFD0E-E283-48FA-A628-6542B512FE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7854F5-CD42-455D-BBCD-1150C3D57D40}"/>
              </a:ext>
            </a:extLst>
          </p:cNvPr>
          <p:cNvSpPr>
            <a:spLocks noGrp="1"/>
          </p:cNvSpPr>
          <p:nvPr>
            <p:ph type="dt" sz="half" idx="10"/>
          </p:nvPr>
        </p:nvSpPr>
        <p:spPr/>
        <p:txBody>
          <a:bodyPr/>
          <a:lstStyle/>
          <a:p>
            <a:fld id="{B337D2C0-4F17-4E7E-B3DA-5E4DA0F29643}" type="datetimeFigureOut">
              <a:rPr lang="en-IE" smtClean="0"/>
              <a:t>29/04/2024</a:t>
            </a:fld>
            <a:endParaRPr lang="en-IE"/>
          </a:p>
        </p:txBody>
      </p:sp>
      <p:sp>
        <p:nvSpPr>
          <p:cNvPr id="6" name="Footer Placeholder 5">
            <a:extLst>
              <a:ext uri="{FF2B5EF4-FFF2-40B4-BE49-F238E27FC236}">
                <a16:creationId xmlns:a16="http://schemas.microsoft.com/office/drawing/2014/main" id="{FBB87D2F-0B73-4A92-9A15-2C4AF992C1B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4AD4C38B-0A29-4A32-9078-E96593F503A4}"/>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575378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BD0CECEE-6379-4C70-9283-AA40D82338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511153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erial photo of an office building lobby.">
            <a:extLst>
              <a:ext uri="{FF2B5EF4-FFF2-40B4-BE49-F238E27FC236}">
                <a16:creationId xmlns:a16="http://schemas.microsoft.com/office/drawing/2014/main" id="{E4EC594C-8F1D-403A-BD67-16F41EF0616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41262478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982125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08512408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442285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63957958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818984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346041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799084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14587046"/>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theme" Target="../theme/theme2.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3.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63" Type="http://schemas.openxmlformats.org/officeDocument/2006/relationships/slideLayout" Target="../slideLayouts/slideLayout150.xml"/><Relationship Id="rId68" Type="http://schemas.openxmlformats.org/officeDocument/2006/relationships/slideLayout" Target="../slideLayouts/slideLayout155.xml"/><Relationship Id="rId16" Type="http://schemas.openxmlformats.org/officeDocument/2006/relationships/slideLayout" Target="../slideLayouts/slideLayout103.xml"/><Relationship Id="rId11" Type="http://schemas.openxmlformats.org/officeDocument/2006/relationships/slideLayout" Target="../slideLayouts/slideLayout98.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53" Type="http://schemas.openxmlformats.org/officeDocument/2006/relationships/slideLayout" Target="../slideLayouts/slideLayout140.xml"/><Relationship Id="rId58" Type="http://schemas.openxmlformats.org/officeDocument/2006/relationships/slideLayout" Target="../slideLayouts/slideLayout145.xml"/><Relationship Id="rId74" Type="http://schemas.openxmlformats.org/officeDocument/2006/relationships/slideLayout" Target="../slideLayouts/slideLayout161.xml"/><Relationship Id="rId79" Type="http://schemas.openxmlformats.org/officeDocument/2006/relationships/slideLayout" Target="../slideLayouts/slideLayout166.xml"/><Relationship Id="rId5" Type="http://schemas.openxmlformats.org/officeDocument/2006/relationships/slideLayout" Target="../slideLayouts/slideLayout92.xml"/><Relationship Id="rId61" Type="http://schemas.openxmlformats.org/officeDocument/2006/relationships/slideLayout" Target="../slideLayouts/slideLayout148.xml"/><Relationship Id="rId82" Type="http://schemas.openxmlformats.org/officeDocument/2006/relationships/image" Target="../media/image20.emf"/><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64" Type="http://schemas.openxmlformats.org/officeDocument/2006/relationships/slideLayout" Target="../slideLayouts/slideLayout151.xml"/><Relationship Id="rId69" Type="http://schemas.openxmlformats.org/officeDocument/2006/relationships/slideLayout" Target="../slideLayouts/slideLayout156.xml"/><Relationship Id="rId77" Type="http://schemas.openxmlformats.org/officeDocument/2006/relationships/slideLayout" Target="../slideLayouts/slideLayout164.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72" Type="http://schemas.openxmlformats.org/officeDocument/2006/relationships/slideLayout" Target="../slideLayouts/slideLayout159.xml"/><Relationship Id="rId80" Type="http://schemas.openxmlformats.org/officeDocument/2006/relationships/slideLayout" Target="../slideLayouts/slideLayout167.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slideLayout" Target="../slideLayouts/slideLayout146.xml"/><Relationship Id="rId67" Type="http://schemas.openxmlformats.org/officeDocument/2006/relationships/slideLayout" Target="../slideLayouts/slideLayout154.xml"/><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slideLayout" Target="../slideLayouts/slideLayout149.xml"/><Relationship Id="rId70" Type="http://schemas.openxmlformats.org/officeDocument/2006/relationships/slideLayout" Target="../slideLayouts/slideLayout157.xml"/><Relationship Id="rId75" Type="http://schemas.openxmlformats.org/officeDocument/2006/relationships/slideLayout" Target="../slideLayouts/slideLayout16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slideLayout" Target="../slideLayouts/slideLayout147.xml"/><Relationship Id="rId65" Type="http://schemas.openxmlformats.org/officeDocument/2006/relationships/slideLayout" Target="../slideLayouts/slideLayout152.xml"/><Relationship Id="rId73" Type="http://schemas.openxmlformats.org/officeDocument/2006/relationships/slideLayout" Target="../slideLayouts/slideLayout160.xml"/><Relationship Id="rId78" Type="http://schemas.openxmlformats.org/officeDocument/2006/relationships/slideLayout" Target="../slideLayouts/slideLayout165.xml"/><Relationship Id="rId81" Type="http://schemas.openxmlformats.org/officeDocument/2006/relationships/theme" Target="../theme/theme4.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slideLayout" Target="../slideLayouts/slideLayout126.xml"/><Relationship Id="rId34" Type="http://schemas.openxmlformats.org/officeDocument/2006/relationships/slideLayout" Target="../slideLayouts/slideLayout121.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6" Type="http://schemas.openxmlformats.org/officeDocument/2006/relationships/slideLayout" Target="../slideLayouts/slideLayout163.xml"/><Relationship Id="rId7" Type="http://schemas.openxmlformats.org/officeDocument/2006/relationships/slideLayout" Target="../slideLayouts/slideLayout94.xml"/><Relationship Id="rId71" Type="http://schemas.openxmlformats.org/officeDocument/2006/relationships/slideLayout" Target="../slideLayouts/slideLayout158.xml"/><Relationship Id="rId2" Type="http://schemas.openxmlformats.org/officeDocument/2006/relationships/slideLayout" Target="../slideLayouts/slideLayout89.xml"/><Relationship Id="rId29" Type="http://schemas.openxmlformats.org/officeDocument/2006/relationships/slideLayout" Target="../slideLayouts/slideLayout116.xml"/><Relationship Id="rId24" Type="http://schemas.openxmlformats.org/officeDocument/2006/relationships/slideLayout" Target="../slideLayouts/slideLayout111.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66"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image" Target="../media/image7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6.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theme" Target="../theme/theme7.xml"/><Relationship Id="rId1" Type="http://schemas.openxmlformats.org/officeDocument/2006/relationships/slideLayout" Target="../slideLayouts/slideLayout204.xml"/><Relationship Id="rId4" Type="http://schemas.openxmlformats.org/officeDocument/2006/relationships/image" Target="../media/image91.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34" Type="http://schemas.openxmlformats.org/officeDocument/2006/relationships/theme" Target="../theme/theme8.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image" Target="../media/image20.emf"/><Relationship Id="rId8" Type="http://schemas.openxmlformats.org/officeDocument/2006/relationships/slideLayout" Target="../slideLayouts/slideLayout2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B4C595-5958-4AFB-A19F-893E581EFE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07BC325B-2ED7-4A36-8441-0ABBE708DC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4B6E53D-49DF-47E5-8792-8D490B49B5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7D2C0-4F17-4E7E-B3DA-5E4DA0F29643}" type="datetimeFigureOut">
              <a:rPr lang="en-IE" smtClean="0"/>
              <a:t>29/04/2024</a:t>
            </a:fld>
            <a:endParaRPr lang="en-IE"/>
          </a:p>
        </p:txBody>
      </p:sp>
      <p:sp>
        <p:nvSpPr>
          <p:cNvPr id="5" name="Footer Placeholder 4">
            <a:extLst>
              <a:ext uri="{FF2B5EF4-FFF2-40B4-BE49-F238E27FC236}">
                <a16:creationId xmlns:a16="http://schemas.microsoft.com/office/drawing/2014/main" id="{0163DD90-7804-4093-BA1D-EA0E88089C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626E389F-A58D-4E88-8703-887913863D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75C9C7-6ECA-492A-8AAC-9225CDF30C7E}" type="slidenum">
              <a:rPr lang="en-IE" smtClean="0"/>
              <a:t>‹#›</a:t>
            </a:fld>
            <a:endParaRPr lang="en-IE"/>
          </a:p>
        </p:txBody>
      </p:sp>
    </p:spTree>
    <p:extLst>
      <p:ext uri="{BB962C8B-B14F-4D97-AF65-F5344CB8AC3E}">
        <p14:creationId xmlns:p14="http://schemas.microsoft.com/office/powerpoint/2010/main" val="41833429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232812"/>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640628969"/>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617256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 id="2147483798" r:id="rId60"/>
    <p:sldLayoutId id="2147483799" r:id="rId61"/>
    <p:sldLayoutId id="2147483800" r:id="rId62"/>
    <p:sldLayoutId id="2147483801" r:id="rId63"/>
    <p:sldLayoutId id="2147483802" r:id="rId64"/>
    <p:sldLayoutId id="2147483803" r:id="rId65"/>
    <p:sldLayoutId id="2147483804" r:id="rId66"/>
    <p:sldLayoutId id="2147483805" r:id="rId67"/>
    <p:sldLayoutId id="2147483806" r:id="rId68"/>
    <p:sldLayoutId id="2147483807" r:id="rId69"/>
    <p:sldLayoutId id="2147483808" r:id="rId70"/>
    <p:sldLayoutId id="2147483809" r:id="rId71"/>
    <p:sldLayoutId id="2147483810" r:id="rId72"/>
    <p:sldLayoutId id="2147483811" r:id="rId73"/>
    <p:sldLayoutId id="2147483812" r:id="rId74"/>
    <p:sldLayoutId id="2147483813" r:id="rId75"/>
    <p:sldLayoutId id="2147483814" r:id="rId76"/>
    <p:sldLayoutId id="2147483815" r:id="rId77"/>
    <p:sldLayoutId id="2147483816" r:id="rId78"/>
    <p:sldLayoutId id="2147483817" r:id="rId79"/>
    <p:sldLayoutId id="2147483818"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33878196"/>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B127F6-9B6C-8C0A-193C-EB44085CCD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4444183-A581-F2AB-1753-4151FDDB2D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7C8AEB4-0D74-32E6-17E8-491745D789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8732FF-DC54-407F-B196-54845B146FCB}" type="datetimeFigureOut">
              <a:rPr lang="en-IE" smtClean="0"/>
              <a:t>29/04/2024</a:t>
            </a:fld>
            <a:endParaRPr lang="en-IE"/>
          </a:p>
        </p:txBody>
      </p:sp>
      <p:sp>
        <p:nvSpPr>
          <p:cNvPr id="5" name="Footer Placeholder 4">
            <a:extLst>
              <a:ext uri="{FF2B5EF4-FFF2-40B4-BE49-F238E27FC236}">
                <a16:creationId xmlns:a16="http://schemas.microsoft.com/office/drawing/2014/main" id="{BD49CA56-566F-6799-F272-133FFE957E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
        <p:nvSpPr>
          <p:cNvPr id="6" name="Slide Number Placeholder 5">
            <a:extLst>
              <a:ext uri="{FF2B5EF4-FFF2-40B4-BE49-F238E27FC236}">
                <a16:creationId xmlns:a16="http://schemas.microsoft.com/office/drawing/2014/main" id="{639FF355-DE50-A1AB-DBE8-4A6AEBB222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BF40130-CDAD-4602-B08E-EEC84F680F5E}" type="slidenum">
              <a:rPr lang="en-IE" smtClean="0"/>
              <a:t>‹#›</a:t>
            </a:fld>
            <a:endParaRPr lang="en-IE"/>
          </a:p>
        </p:txBody>
      </p:sp>
    </p:spTree>
    <p:extLst>
      <p:ext uri="{BB962C8B-B14F-4D97-AF65-F5344CB8AC3E}">
        <p14:creationId xmlns:p14="http://schemas.microsoft.com/office/powerpoint/2010/main" val="373019549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26960252"/>
      </p:ext>
    </p:extLst>
  </p:cSld>
  <p:clrMap bg1="lt1" tx1="dk1" bg2="lt2" tx2="dk2" accent1="accent1" accent2="accent2" accent3="accent3" accent4="accent4" accent5="accent5" accent6="accent6" hlink="hlink" folHlink="folHlink"/>
  <p:sldLayoutIdLst>
    <p:sldLayoutId id="2147483858" r:id="rId1"/>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2F2F2F"/>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307777"/>
          </a:xfrm>
          <a:prstGeom prst="rect">
            <a:avLst/>
          </a:prstGeom>
        </p:spPr>
        <p:txBody>
          <a:bodyPr vert="horz" wrap="square" lIns="0" tIns="0" rIns="0" bIns="0" rtlCol="0" anchor="t">
            <a:spAutoFit/>
          </a:bodyPr>
          <a:lstStyle/>
          <a:p>
            <a:r>
              <a:rPr lang="en-US"/>
              <a:t>Add slide title here</a:t>
            </a:r>
          </a:p>
        </p:txBody>
      </p:sp>
      <p:sp>
        <p:nvSpPr>
          <p:cNvPr id="4" name="Text Placeholder 3"/>
          <p:cNvSpPr>
            <a:spLocks noGrp="1"/>
          </p:cNvSpPr>
          <p:nvPr userDrawn="1">
            <p:ph type="body" idx="1"/>
          </p:nvPr>
        </p:nvSpPr>
        <p:spPr>
          <a:xfrm>
            <a:off x="584200" y="1435502"/>
            <a:ext cx="11018520" cy="483727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Date Placeholder 4">
            <a:extLst>
              <a:ext uri="{FF2B5EF4-FFF2-40B4-BE49-F238E27FC236}">
                <a16:creationId xmlns:a16="http://schemas.microsoft.com/office/drawing/2014/main" id="{946C8AD2-69E2-470C-9C53-79826C6C0A76}"/>
              </a:ext>
            </a:extLst>
          </p:cNvPr>
          <p:cNvSpPr>
            <a:spLocks noGrp="1"/>
          </p:cNvSpPr>
          <p:nvPr>
            <p:ph type="dt" sz="half" idx="2"/>
          </p:nvPr>
        </p:nvSpPr>
        <p:spPr>
          <a:xfrm>
            <a:off x="9705733" y="6448897"/>
            <a:ext cx="775853" cy="230832"/>
          </a:xfrm>
          <a:prstGeom prst="rect">
            <a:avLst/>
          </a:prstGeom>
        </p:spPr>
        <p:txBody>
          <a:bodyPr vert="horz" wrap="none" lIns="0" tIns="45720" rIns="0" bIns="45720" rtlCol="0" anchor="ctr">
            <a:spAutoFit/>
          </a:bodyPr>
          <a:lstStyle>
            <a:lvl1pPr algn="ctr">
              <a:defRPr sz="900">
                <a:solidFill>
                  <a:schemeClr val="tx1">
                    <a:tint val="75000"/>
                    <a:alpha val="50000"/>
                  </a:schemeClr>
                </a:solidFill>
              </a:defRPr>
            </a:lvl1pPr>
          </a:lstStyle>
          <a:p>
            <a:r>
              <a:rPr lang="en-US"/>
              <a:t>CONFIDENTIAL</a:t>
            </a:r>
          </a:p>
        </p:txBody>
      </p:sp>
      <p:sp>
        <p:nvSpPr>
          <p:cNvPr id="6" name="Footer Placeholder 5">
            <a:extLst>
              <a:ext uri="{FF2B5EF4-FFF2-40B4-BE49-F238E27FC236}">
                <a16:creationId xmlns:a16="http://schemas.microsoft.com/office/drawing/2014/main" id="{2CCB74BE-D938-40B9-888D-303F208F1B12}"/>
              </a:ext>
            </a:extLst>
          </p:cNvPr>
          <p:cNvSpPr>
            <a:spLocks noGrp="1"/>
          </p:cNvSpPr>
          <p:nvPr>
            <p:ph type="ftr" sz="quarter" idx="3"/>
          </p:nvPr>
        </p:nvSpPr>
        <p:spPr>
          <a:xfrm>
            <a:off x="584200" y="6448897"/>
            <a:ext cx="1853071" cy="230832"/>
          </a:xfrm>
          <a:prstGeom prst="rect">
            <a:avLst/>
          </a:prstGeom>
        </p:spPr>
        <p:txBody>
          <a:bodyPr vert="horz" wrap="none" lIns="0" tIns="45720" rIns="0" bIns="45720" rtlCol="0" anchor="ctr">
            <a:spAutoFit/>
          </a:bodyPr>
          <a:lstStyle>
            <a:lvl1pPr algn="l">
              <a:defRPr sz="900">
                <a:solidFill>
                  <a:schemeClr val="tx1">
                    <a:tint val="75000"/>
                    <a:alpha val="50000"/>
                  </a:schemeClr>
                </a:solidFill>
              </a:defRPr>
            </a:lvl1pPr>
          </a:lstStyle>
          <a:p>
            <a:r>
              <a:rPr lang="en-US"/>
              <a:t>Microsoft Azure | Cognitive Services</a:t>
            </a:r>
          </a:p>
        </p:txBody>
      </p:sp>
      <p:sp>
        <p:nvSpPr>
          <p:cNvPr id="8" name="Slide Number Placeholder 7">
            <a:extLst>
              <a:ext uri="{FF2B5EF4-FFF2-40B4-BE49-F238E27FC236}">
                <a16:creationId xmlns:a16="http://schemas.microsoft.com/office/drawing/2014/main" id="{5B59CF53-DCC6-417C-9467-92303AEE6FA7}"/>
              </a:ext>
            </a:extLst>
          </p:cNvPr>
          <p:cNvSpPr>
            <a:spLocks noGrp="1"/>
          </p:cNvSpPr>
          <p:nvPr>
            <p:ph type="sldNum" sz="quarter" idx="4"/>
          </p:nvPr>
        </p:nvSpPr>
        <p:spPr>
          <a:xfrm>
            <a:off x="11467164" y="6448897"/>
            <a:ext cx="142668" cy="230832"/>
          </a:xfrm>
          <a:prstGeom prst="rect">
            <a:avLst/>
          </a:prstGeom>
        </p:spPr>
        <p:txBody>
          <a:bodyPr vert="horz" wrap="none" lIns="0" tIns="45720" rIns="0" bIns="45720" rtlCol="0" anchor="ctr">
            <a:spAutoFit/>
          </a:bodyPr>
          <a:lstStyle>
            <a:lvl1pPr algn="r">
              <a:defRPr sz="900">
                <a:solidFill>
                  <a:schemeClr val="tx1">
                    <a:tint val="75000"/>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2718711075"/>
      </p:ext>
    </p:extLst>
  </p:cSld>
  <p:clrMap bg1="dk1" tx1="lt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Lst>
  <p:transition>
    <p:fade/>
  </p:transition>
  <p:hf hdr="0"/>
  <p:txStyles>
    <p:titleStyle>
      <a:lvl1pPr algn="l" defTabSz="932742" rtl="0" eaLnBrk="1" latinLnBrk="0" hangingPunct="1">
        <a:lnSpc>
          <a:spcPct val="100000"/>
        </a:lnSpc>
        <a:spcBef>
          <a:spcPct val="0"/>
        </a:spcBef>
        <a:buNone/>
        <a:defRPr lang="en-US" sz="2000" b="0" kern="1200" cap="none" spc="-50" baseline="0" dirty="0" smtClean="0">
          <a:ln w="3175">
            <a:noFill/>
          </a:ln>
          <a:solidFill>
            <a:schemeClr val="accent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2400"/>
        </a:spcBef>
        <a:spcAft>
          <a:spcPts val="600"/>
        </a:spcAft>
        <a:buClrTx/>
        <a:buSzPct val="90000"/>
        <a:buFont typeface="Wingdings" panose="05000000000000000000" pitchFamily="2" charset="2"/>
        <a:buNone/>
        <a:tabLst/>
        <a:defRPr sz="2000" kern="1200" spc="0" baseline="0">
          <a:solidFill>
            <a:schemeClr val="accent2"/>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90513" marR="0" indent="-179388" algn="l" defTabSz="932742" rtl="0" eaLnBrk="1" fontAlgn="auto" latinLnBrk="0" hangingPunct="1">
        <a:lnSpc>
          <a:spcPct val="100000"/>
        </a:lnSpc>
        <a:spcBef>
          <a:spcPts val="0"/>
        </a:spcBef>
        <a:spcAft>
          <a:spcPts val="600"/>
        </a:spcAft>
        <a:buClr>
          <a:srgbClr val="50E6FF"/>
        </a:buClr>
        <a:buSzPct val="100000"/>
        <a:buFont typeface="Wingdings" panose="05000000000000000000" pitchFamily="2" charset="2"/>
        <a:buChar char=""/>
        <a:tabLst/>
        <a:defRPr sz="1600" kern="1200" spc="0" baseline="0">
          <a:solidFill>
            <a:schemeClr val="tx1"/>
          </a:solidFill>
          <a:latin typeface="+mn-lt"/>
          <a:ea typeface="+mn-ea"/>
          <a:cs typeface="+mn-cs"/>
        </a:defRPr>
      </a:lvl3pPr>
      <a:lvl4pPr marL="290513" marR="0" indent="-234950" algn="l" defTabSz="932742" rtl="0" eaLnBrk="1" fontAlgn="auto" latinLnBrk="0" hangingPunct="1">
        <a:lnSpc>
          <a:spcPct val="100000"/>
        </a:lnSpc>
        <a:spcBef>
          <a:spcPts val="0"/>
        </a:spcBef>
        <a:spcAft>
          <a:spcPts val="600"/>
        </a:spcAft>
        <a:buClr>
          <a:srgbClr val="50E6FF"/>
        </a:buClr>
        <a:buSzPct val="100000"/>
        <a:buFont typeface="+mj-lt"/>
        <a:buAutoNum type="arabicPeriod"/>
        <a:tabLst/>
        <a:defRPr sz="1600" kern="1200" spc="0" baseline="0">
          <a:solidFill>
            <a:schemeClr val="tx1"/>
          </a:solidFill>
          <a:latin typeface="+mn-lt"/>
          <a:ea typeface="+mn-ea"/>
          <a:cs typeface="+mn-cs"/>
        </a:defRPr>
      </a:lvl4pPr>
      <a:lvl5pPr marL="623888" marR="0" indent="-290513" algn="l" defTabSz="932742" rtl="0" eaLnBrk="1" fontAlgn="auto" latinLnBrk="0" hangingPunct="1">
        <a:lnSpc>
          <a:spcPct val="100000"/>
        </a:lnSpc>
        <a:spcBef>
          <a:spcPts val="0"/>
        </a:spcBef>
        <a:spcAft>
          <a:spcPts val="600"/>
        </a:spcAft>
        <a:buClr>
          <a:srgbClr val="50E6FF"/>
        </a:buClr>
        <a:buSzPct val="100000"/>
        <a:buFont typeface="+mj-lt"/>
        <a:buAutoNum type="alphaLcParenR"/>
        <a:tabLst/>
        <a:defRPr sz="16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guide id="31" orient="horz" pos="9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8.svg"/><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0.jpeg"/></Relationships>
</file>

<file path=ppt/slides/_rels/slide1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9.xml"/><Relationship Id="rId1" Type="http://schemas.openxmlformats.org/officeDocument/2006/relationships/slideLayout" Target="../slideLayouts/slideLayout194.xml"/><Relationship Id="rId4" Type="http://schemas.openxmlformats.org/officeDocument/2006/relationships/image" Target="../media/image163.svg"/></Relationships>
</file>

<file path=ppt/slides/_rels/slide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xml"/><Relationship Id="rId1" Type="http://schemas.openxmlformats.org/officeDocument/2006/relationships/slideLayout" Target="../slideLayouts/slideLayout194.xml"/><Relationship Id="rId4" Type="http://schemas.openxmlformats.org/officeDocument/2006/relationships/image" Target="../media/image166.svg"/></Relationships>
</file>

<file path=ppt/slides/_rels/slide1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xml"/><Relationship Id="rId1" Type="http://schemas.openxmlformats.org/officeDocument/2006/relationships/slideLayout" Target="../slideLayouts/slideLayout194.xml"/><Relationship Id="rId4" Type="http://schemas.openxmlformats.org/officeDocument/2006/relationships/image" Target="../media/image166.svg"/></Relationships>
</file>

<file path=ppt/slides/_rels/slide1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9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fr_locale=%22en-US%22" TargetMode="External"/><Relationship Id="rId2" Type="http://schemas.openxmlformats.org/officeDocument/2006/relationships/image" Target="../media/image168.jpg"/><Relationship Id="rId1" Type="http://schemas.openxmlformats.org/officeDocument/2006/relationships/slideLayout" Target="../slideLayouts/slideLayout194.xml"/></Relationships>
</file>

<file path=ppt/slides/_rels/slide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3.xml"/><Relationship Id="rId1" Type="http://schemas.openxmlformats.org/officeDocument/2006/relationships/slideLayout" Target="../slideLayouts/slideLayout194.xml"/></Relationships>
</file>

<file path=ppt/slides/_rels/slide22.xml.rels><?xml version="1.0" encoding="UTF-8" standalone="yes"?>
<Relationships xmlns="http://schemas.openxmlformats.org/package/2006/relationships"><Relationship Id="rId3" Type="http://schemas.openxmlformats.org/officeDocument/2006/relationships/image" Target="../media/image171.svg"/><Relationship Id="rId2" Type="http://schemas.openxmlformats.org/officeDocument/2006/relationships/image" Target="../media/image170.png"/><Relationship Id="rId1" Type="http://schemas.openxmlformats.org/officeDocument/2006/relationships/slideLayout" Target="../slideLayouts/slideLayout194.xml"/></Relationships>
</file>

<file path=ppt/slides/_rels/slide23.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66.svg"/><Relationship Id="rId2" Type="http://schemas.openxmlformats.org/officeDocument/2006/relationships/image" Target="../media/image172.png"/><Relationship Id="rId1" Type="http://schemas.openxmlformats.org/officeDocument/2006/relationships/slideLayout" Target="../slideLayouts/slideLayout194.xml"/><Relationship Id="rId6" Type="http://schemas.openxmlformats.org/officeDocument/2006/relationships/image" Target="../media/image165.png"/><Relationship Id="rId5" Type="http://schemas.openxmlformats.org/officeDocument/2006/relationships/image" Target="../media/image171.svg"/><Relationship Id="rId4" Type="http://schemas.openxmlformats.org/officeDocument/2006/relationships/image" Target="../media/image170.png"/></Relationships>
</file>

<file path=ppt/slides/_rels/slide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4.xml"/><Relationship Id="rId1" Type="http://schemas.openxmlformats.org/officeDocument/2006/relationships/slideLayout" Target="../slideLayouts/slideLayout19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1.svg"/><Relationship Id="rId18" Type="http://schemas.openxmlformats.org/officeDocument/2006/relationships/image" Target="../media/image186.png"/><Relationship Id="rId26" Type="http://schemas.openxmlformats.org/officeDocument/2006/relationships/image" Target="../media/image194.png"/><Relationship Id="rId3" Type="http://schemas.openxmlformats.org/officeDocument/2006/relationships/image" Target="../media/image111.png"/><Relationship Id="rId21" Type="http://schemas.openxmlformats.org/officeDocument/2006/relationships/image" Target="../media/image189.svg"/><Relationship Id="rId7" Type="http://schemas.openxmlformats.org/officeDocument/2006/relationships/image" Target="../media/image177.png"/><Relationship Id="rId12" Type="http://schemas.openxmlformats.org/officeDocument/2006/relationships/image" Target="../media/image180.png"/><Relationship Id="rId17" Type="http://schemas.openxmlformats.org/officeDocument/2006/relationships/image" Target="../media/image185.svg"/><Relationship Id="rId25" Type="http://schemas.openxmlformats.org/officeDocument/2006/relationships/image" Target="../media/image193.svg"/><Relationship Id="rId2" Type="http://schemas.openxmlformats.org/officeDocument/2006/relationships/notesSlide" Target="../notesSlides/notesSlide17.xml"/><Relationship Id="rId16" Type="http://schemas.openxmlformats.org/officeDocument/2006/relationships/image" Target="../media/image184.png"/><Relationship Id="rId20" Type="http://schemas.openxmlformats.org/officeDocument/2006/relationships/image" Target="../media/image188.png"/><Relationship Id="rId1" Type="http://schemas.openxmlformats.org/officeDocument/2006/relationships/slideLayout" Target="../slideLayouts/slideLayout24.xml"/><Relationship Id="rId6" Type="http://schemas.openxmlformats.org/officeDocument/2006/relationships/image" Target="../media/image176.png"/><Relationship Id="rId11" Type="http://schemas.openxmlformats.org/officeDocument/2006/relationships/image" Target="../media/image179.png"/><Relationship Id="rId24" Type="http://schemas.openxmlformats.org/officeDocument/2006/relationships/image" Target="../media/image192.png"/><Relationship Id="rId5" Type="http://schemas.openxmlformats.org/officeDocument/2006/relationships/image" Target="../media/image175.png"/><Relationship Id="rId15" Type="http://schemas.openxmlformats.org/officeDocument/2006/relationships/image" Target="../media/image183.svg"/><Relationship Id="rId23" Type="http://schemas.openxmlformats.org/officeDocument/2006/relationships/image" Target="../media/image191.svg"/><Relationship Id="rId10" Type="http://schemas.openxmlformats.org/officeDocument/2006/relationships/image" Target="../media/image116.svg"/><Relationship Id="rId19" Type="http://schemas.openxmlformats.org/officeDocument/2006/relationships/image" Target="../media/image187.svg"/><Relationship Id="rId4" Type="http://schemas.openxmlformats.org/officeDocument/2006/relationships/image" Target="../media/image112.png"/><Relationship Id="rId9" Type="http://schemas.openxmlformats.org/officeDocument/2006/relationships/image" Target="../media/image115.png"/><Relationship Id="rId14" Type="http://schemas.openxmlformats.org/officeDocument/2006/relationships/image" Target="../media/image182.png"/><Relationship Id="rId22" Type="http://schemas.openxmlformats.org/officeDocument/2006/relationships/image" Target="../media/image190.png"/><Relationship Id="rId27" Type="http://schemas.openxmlformats.org/officeDocument/2006/relationships/image" Target="../media/image195.svg"/></Relationships>
</file>

<file path=ppt/slides/_rels/slide28.xml.rels><?xml version="1.0" encoding="UTF-8" standalone="yes"?>
<Relationships xmlns="http://schemas.openxmlformats.org/package/2006/relationships"><Relationship Id="rId8" Type="http://schemas.openxmlformats.org/officeDocument/2006/relationships/image" Target="../media/image201.emf"/><Relationship Id="rId3" Type="http://schemas.openxmlformats.org/officeDocument/2006/relationships/image" Target="../media/image196.png"/><Relationship Id="rId7" Type="http://schemas.openxmlformats.org/officeDocument/2006/relationships/image" Target="../media/image200.png"/><Relationship Id="rId2" Type="http://schemas.openxmlformats.org/officeDocument/2006/relationships/notesSlide" Target="../notesSlides/notesSlide18.xml"/><Relationship Id="rId1" Type="http://schemas.openxmlformats.org/officeDocument/2006/relationships/slideLayout" Target="../slideLayouts/slideLayout87.xml"/><Relationship Id="rId6" Type="http://schemas.openxmlformats.org/officeDocument/2006/relationships/image" Target="../media/image199.png"/><Relationship Id="rId5" Type="http://schemas.openxmlformats.org/officeDocument/2006/relationships/image" Target="../media/image198.emf"/><Relationship Id="rId4" Type="http://schemas.openxmlformats.org/officeDocument/2006/relationships/image" Target="../media/image197.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9.xml"/><Relationship Id="rId1" Type="http://schemas.openxmlformats.org/officeDocument/2006/relationships/tags" Target="../tags/tag1.xml"/><Relationship Id="rId5" Type="http://schemas.openxmlformats.org/officeDocument/2006/relationships/image" Target="../media/image202.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04.svg"/><Relationship Id="rId2" Type="http://schemas.openxmlformats.org/officeDocument/2006/relationships/image" Target="../media/image203.png"/><Relationship Id="rId1" Type="http://schemas.openxmlformats.org/officeDocument/2006/relationships/slideLayout" Target="../slideLayouts/slideLayout170.xml"/><Relationship Id="rId5" Type="http://schemas.openxmlformats.org/officeDocument/2006/relationships/image" Target="../media/image206.svg"/><Relationship Id="rId4" Type="http://schemas.openxmlformats.org/officeDocument/2006/relationships/image" Target="../media/image20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4.sv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1.xml"/><Relationship Id="rId1" Type="http://schemas.openxmlformats.org/officeDocument/2006/relationships/slideLayout" Target="../slideLayouts/slideLayout204.xml"/><Relationship Id="rId6" Type="http://schemas.openxmlformats.org/officeDocument/2006/relationships/image" Target="../media/image112.png"/><Relationship Id="rId5" Type="http://schemas.openxmlformats.org/officeDocument/2006/relationships/image" Target="../media/image11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s>
</file>

<file path=ppt/slides/_rels/slide6.xml.rels><?xml version="1.0" encoding="UTF-8" standalone="yes"?>
<Relationships xmlns="http://schemas.openxmlformats.org/package/2006/relationships"><Relationship Id="rId13" Type="http://schemas.openxmlformats.org/officeDocument/2006/relationships/image" Target="../media/image126.svg"/><Relationship Id="rId18" Type="http://schemas.openxmlformats.org/officeDocument/2006/relationships/image" Target="../media/image131.png"/><Relationship Id="rId26" Type="http://schemas.openxmlformats.org/officeDocument/2006/relationships/image" Target="../media/image139.png"/><Relationship Id="rId39" Type="http://schemas.openxmlformats.org/officeDocument/2006/relationships/image" Target="../media/image152.png"/><Relationship Id="rId21" Type="http://schemas.openxmlformats.org/officeDocument/2006/relationships/image" Target="../media/image134.svg"/><Relationship Id="rId34" Type="http://schemas.openxmlformats.org/officeDocument/2006/relationships/image" Target="../media/image147.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svg"/><Relationship Id="rId25" Type="http://schemas.openxmlformats.org/officeDocument/2006/relationships/image" Target="../media/image138.svg"/><Relationship Id="rId33" Type="http://schemas.openxmlformats.org/officeDocument/2006/relationships/image" Target="../media/image146.png"/><Relationship Id="rId38" Type="http://schemas.openxmlformats.org/officeDocument/2006/relationships/image" Target="../media/image151.png"/><Relationship Id="rId2" Type="http://schemas.openxmlformats.org/officeDocument/2006/relationships/notesSlide" Target="../notesSlides/notesSlide2.xml"/><Relationship Id="rId16" Type="http://schemas.openxmlformats.org/officeDocument/2006/relationships/image" Target="../media/image129.png"/><Relationship Id="rId20" Type="http://schemas.openxmlformats.org/officeDocument/2006/relationships/image" Target="../media/image133.png"/><Relationship Id="rId29" Type="http://schemas.openxmlformats.org/officeDocument/2006/relationships/image" Target="../media/image142.png"/><Relationship Id="rId1" Type="http://schemas.openxmlformats.org/officeDocument/2006/relationships/slideLayout" Target="../slideLayouts/slideLayout229.xml"/><Relationship Id="rId6" Type="http://schemas.openxmlformats.org/officeDocument/2006/relationships/image" Target="../media/image119.svg"/><Relationship Id="rId11" Type="http://schemas.openxmlformats.org/officeDocument/2006/relationships/image" Target="../media/image124.png"/><Relationship Id="rId24" Type="http://schemas.openxmlformats.org/officeDocument/2006/relationships/image" Target="../media/image137.png"/><Relationship Id="rId32" Type="http://schemas.openxmlformats.org/officeDocument/2006/relationships/image" Target="../media/image145.png"/><Relationship Id="rId37" Type="http://schemas.openxmlformats.org/officeDocument/2006/relationships/image" Target="../media/image150.png"/><Relationship Id="rId5" Type="http://schemas.openxmlformats.org/officeDocument/2006/relationships/image" Target="../media/image118.png"/><Relationship Id="rId15" Type="http://schemas.openxmlformats.org/officeDocument/2006/relationships/image" Target="../media/image128.svg"/><Relationship Id="rId23" Type="http://schemas.openxmlformats.org/officeDocument/2006/relationships/image" Target="../media/image136.svg"/><Relationship Id="rId28" Type="http://schemas.openxmlformats.org/officeDocument/2006/relationships/image" Target="../media/image141.png"/><Relationship Id="rId36" Type="http://schemas.openxmlformats.org/officeDocument/2006/relationships/image" Target="../media/image149.png"/><Relationship Id="rId10" Type="http://schemas.openxmlformats.org/officeDocument/2006/relationships/image" Target="../media/image123.svg"/><Relationship Id="rId19" Type="http://schemas.openxmlformats.org/officeDocument/2006/relationships/image" Target="../media/image132.svg"/><Relationship Id="rId31" Type="http://schemas.openxmlformats.org/officeDocument/2006/relationships/image" Target="../media/image144.png"/><Relationship Id="rId4" Type="http://schemas.microsoft.com/office/2007/relationships/hdphoto" Target="../media/hdphoto2.wdp"/><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 Id="rId27" Type="http://schemas.openxmlformats.org/officeDocument/2006/relationships/image" Target="../media/image140.svg"/><Relationship Id="rId30" Type="http://schemas.openxmlformats.org/officeDocument/2006/relationships/image" Target="../media/image143.png"/><Relationship Id="rId35" Type="http://schemas.openxmlformats.org/officeDocument/2006/relationships/image" Target="../media/image148.png"/><Relationship Id="rId8" Type="http://schemas.openxmlformats.org/officeDocument/2006/relationships/image" Target="../media/image121.svg"/><Relationship Id="rId3" Type="http://schemas.openxmlformats.org/officeDocument/2006/relationships/image" Target="../media/image117.png"/></Relationships>
</file>

<file path=ppt/slides/_rels/slide7.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learn.microsoft.com/en-us/azure/architecture/data-guide/technology-choices/cognitive-services"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54.png"/><Relationship Id="rId4" Type="http://schemas.openxmlformats.org/officeDocument/2006/relationships/hyperlink" Target="https://azure.microsoft.com/en-us/pricing/details/ai-document-intelligenc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5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918-8D97-45AC-942A-EBF99AFCAB2E}"/>
              </a:ext>
            </a:extLst>
          </p:cNvPr>
          <p:cNvSpPr>
            <a:spLocks noGrp="1"/>
          </p:cNvSpPr>
          <p:nvPr>
            <p:ph type="ctrTitle"/>
          </p:nvPr>
        </p:nvSpPr>
        <p:spPr/>
        <p:txBody>
          <a:bodyPr/>
          <a:lstStyle/>
          <a:p>
            <a:r>
              <a:rPr lang="en-IE" dirty="0"/>
              <a:t>Azure AI Services</a:t>
            </a:r>
          </a:p>
        </p:txBody>
      </p:sp>
      <p:sp>
        <p:nvSpPr>
          <p:cNvPr id="3" name="Subtitle 2">
            <a:extLst>
              <a:ext uri="{FF2B5EF4-FFF2-40B4-BE49-F238E27FC236}">
                <a16:creationId xmlns:a16="http://schemas.microsoft.com/office/drawing/2014/main" id="{127D2E13-9501-4F88-B3E8-8EFA661799BC}"/>
              </a:ext>
            </a:extLst>
          </p:cNvPr>
          <p:cNvSpPr>
            <a:spLocks noGrp="1"/>
          </p:cNvSpPr>
          <p:nvPr>
            <p:ph type="subTitle" idx="1"/>
          </p:nvPr>
        </p:nvSpPr>
        <p:spPr/>
        <p:txBody>
          <a:bodyPr/>
          <a:lstStyle/>
          <a:p>
            <a:r>
              <a:rPr lang="en-IE" dirty="0"/>
              <a:t>Overview</a:t>
            </a:r>
          </a:p>
        </p:txBody>
      </p:sp>
    </p:spTree>
    <p:extLst>
      <p:ext uri="{BB962C8B-B14F-4D97-AF65-F5344CB8AC3E}">
        <p14:creationId xmlns:p14="http://schemas.microsoft.com/office/powerpoint/2010/main" val="856246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4F9F-4FDE-4072-9ED5-3E3C354329B5}"/>
              </a:ext>
            </a:extLst>
          </p:cNvPr>
          <p:cNvSpPr>
            <a:spLocks noGrp="1"/>
          </p:cNvSpPr>
          <p:nvPr>
            <p:ph type="title"/>
          </p:nvPr>
        </p:nvSpPr>
        <p:spPr/>
        <p:txBody>
          <a:bodyPr/>
          <a:lstStyle/>
          <a:p>
            <a:r>
              <a:rPr lang="en-IE" dirty="0"/>
              <a:t>Azure Speech Services – Industry Scenarios</a:t>
            </a:r>
          </a:p>
        </p:txBody>
      </p:sp>
      <p:sp>
        <p:nvSpPr>
          <p:cNvPr id="3" name="Content Placeholder 2">
            <a:extLst>
              <a:ext uri="{FF2B5EF4-FFF2-40B4-BE49-F238E27FC236}">
                <a16:creationId xmlns:a16="http://schemas.microsoft.com/office/drawing/2014/main" id="{BB4AFA6F-2113-46F8-9031-98B11C20A35B}"/>
              </a:ext>
            </a:extLst>
          </p:cNvPr>
          <p:cNvSpPr>
            <a:spLocks noGrp="1"/>
          </p:cNvSpPr>
          <p:nvPr>
            <p:ph idx="1"/>
          </p:nvPr>
        </p:nvSpPr>
        <p:spPr/>
        <p:txBody>
          <a:bodyPr>
            <a:normAutofit fontScale="92500" lnSpcReduction="20000"/>
          </a:bodyPr>
          <a:lstStyle/>
          <a:p>
            <a:r>
              <a:rPr lang="en-GB" b="1" dirty="0"/>
              <a:t>Call </a:t>
            </a:r>
            <a:r>
              <a:rPr lang="en-GB" b="1" dirty="0" err="1"/>
              <a:t>Centers</a:t>
            </a:r>
            <a:r>
              <a:rPr lang="en-GB" b="1" dirty="0"/>
              <a:t>:</a:t>
            </a:r>
            <a:r>
              <a:rPr lang="en-GB" dirty="0"/>
              <a:t> Utilizing speech-to-text for accurate transcriptions and voice interaction for enhanced customer service. </a:t>
            </a:r>
          </a:p>
          <a:p>
            <a:r>
              <a:rPr lang="en-GB" b="1" dirty="0"/>
              <a:t>Healthcare:</a:t>
            </a:r>
            <a:r>
              <a:rPr lang="en-GB" dirty="0"/>
              <a:t> Translating and transcribing patient interactions and medical dictations in multiple languages. </a:t>
            </a:r>
          </a:p>
          <a:p>
            <a:r>
              <a:rPr lang="en-GB" b="1" dirty="0"/>
              <a:t>Education:</a:t>
            </a:r>
            <a:r>
              <a:rPr lang="en-GB" dirty="0"/>
              <a:t> Assisting in language learning and accessibility by translating and transcribing lectures or educational content. </a:t>
            </a:r>
          </a:p>
          <a:p>
            <a:r>
              <a:rPr lang="en-GB" b="1" dirty="0"/>
              <a:t>Finance:</a:t>
            </a:r>
            <a:r>
              <a:rPr lang="en-GB" dirty="0"/>
              <a:t> Secure and accurate transcription of financial meetings, earnings calls, and customer service interactions. </a:t>
            </a:r>
          </a:p>
          <a:p>
            <a:r>
              <a:rPr lang="en-GB" b="1" dirty="0"/>
              <a:t>Media:</a:t>
            </a:r>
            <a:r>
              <a:rPr lang="en-GB" dirty="0"/>
              <a:t> Transcribing interviews, shows, and news broadcasts for subtitling and content analysis. </a:t>
            </a:r>
          </a:p>
          <a:p>
            <a:r>
              <a:rPr lang="en-GB" b="1" dirty="0"/>
              <a:t>Retail:</a:t>
            </a:r>
            <a:r>
              <a:rPr lang="en-GB" dirty="0"/>
              <a:t> Enhancing customer experience through voice-enabled shopping assistants and customer service bots. </a:t>
            </a:r>
          </a:p>
          <a:p>
            <a:endParaRPr lang="en-IE" dirty="0"/>
          </a:p>
        </p:txBody>
      </p:sp>
    </p:spTree>
    <p:extLst>
      <p:ext uri="{BB962C8B-B14F-4D97-AF65-F5344CB8AC3E}">
        <p14:creationId xmlns:p14="http://schemas.microsoft.com/office/powerpoint/2010/main" val="885606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9759B-8F4F-4E2E-A013-E30A97AFB6C6}"/>
              </a:ext>
            </a:extLst>
          </p:cNvPr>
          <p:cNvSpPr>
            <a:spLocks noGrp="1"/>
          </p:cNvSpPr>
          <p:nvPr>
            <p:ph type="title"/>
          </p:nvPr>
        </p:nvSpPr>
        <p:spPr>
          <a:xfrm>
            <a:off x="838200" y="365125"/>
            <a:ext cx="10515600" cy="856163"/>
          </a:xfrm>
        </p:spPr>
        <p:txBody>
          <a:bodyPr/>
          <a:lstStyle/>
          <a:p>
            <a:r>
              <a:rPr lang="en-IE" dirty="0"/>
              <a:t>Azure Speech Service Pricing (Apr’24, NE)</a:t>
            </a:r>
          </a:p>
        </p:txBody>
      </p:sp>
      <p:graphicFrame>
        <p:nvGraphicFramePr>
          <p:cNvPr id="4" name="Table 3">
            <a:extLst>
              <a:ext uri="{FF2B5EF4-FFF2-40B4-BE49-F238E27FC236}">
                <a16:creationId xmlns:a16="http://schemas.microsoft.com/office/drawing/2014/main" id="{C5C52D64-BB88-400D-93A8-BACF024CAADB}"/>
              </a:ext>
            </a:extLst>
          </p:cNvPr>
          <p:cNvGraphicFramePr>
            <a:graphicFrameLocks noGrp="1"/>
          </p:cNvGraphicFramePr>
          <p:nvPr>
            <p:extLst>
              <p:ext uri="{D42A27DB-BD31-4B8C-83A1-F6EECF244321}">
                <p14:modId xmlns:p14="http://schemas.microsoft.com/office/powerpoint/2010/main" val="3325604279"/>
              </p:ext>
            </p:extLst>
          </p:nvPr>
        </p:nvGraphicFramePr>
        <p:xfrm>
          <a:off x="1128475" y="1519329"/>
          <a:ext cx="9258643" cy="4375206"/>
        </p:xfrm>
        <a:graphic>
          <a:graphicData uri="http://schemas.openxmlformats.org/drawingml/2006/table">
            <a:tbl>
              <a:tblPr/>
              <a:tblGrid>
                <a:gridCol w="1804651">
                  <a:extLst>
                    <a:ext uri="{9D8B030D-6E8A-4147-A177-3AD203B41FA5}">
                      <a16:colId xmlns:a16="http://schemas.microsoft.com/office/drawing/2014/main" val="2253895356"/>
                    </a:ext>
                  </a:extLst>
                </a:gridCol>
                <a:gridCol w="2286638">
                  <a:extLst>
                    <a:ext uri="{9D8B030D-6E8A-4147-A177-3AD203B41FA5}">
                      <a16:colId xmlns:a16="http://schemas.microsoft.com/office/drawing/2014/main" val="2829670847"/>
                    </a:ext>
                  </a:extLst>
                </a:gridCol>
                <a:gridCol w="3048851">
                  <a:extLst>
                    <a:ext uri="{9D8B030D-6E8A-4147-A177-3AD203B41FA5}">
                      <a16:colId xmlns:a16="http://schemas.microsoft.com/office/drawing/2014/main" val="2452738757"/>
                    </a:ext>
                  </a:extLst>
                </a:gridCol>
                <a:gridCol w="2118503">
                  <a:extLst>
                    <a:ext uri="{9D8B030D-6E8A-4147-A177-3AD203B41FA5}">
                      <a16:colId xmlns:a16="http://schemas.microsoft.com/office/drawing/2014/main" val="3219271725"/>
                    </a:ext>
                  </a:extLst>
                </a:gridCol>
              </a:tblGrid>
              <a:tr h="196158">
                <a:tc>
                  <a:txBody>
                    <a:bodyPr/>
                    <a:lstStyle/>
                    <a:p>
                      <a:pPr algn="ctr" fontAlgn="t"/>
                      <a:r>
                        <a:rPr lang="en-IE" sz="1100" b="1" i="0" u="none" strike="noStrike">
                          <a:solidFill>
                            <a:srgbClr val="4C4C51"/>
                          </a:solidFill>
                          <a:effectLst/>
                          <a:latin typeface="Segoe UI" panose="020B0502040204020203" pitchFamily="34" charset="0"/>
                        </a:rPr>
                        <a:t>Category</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a:txBody>
                    <a:bodyPr/>
                    <a:lstStyle/>
                    <a:p>
                      <a:pPr algn="ctr" fontAlgn="t"/>
                      <a:r>
                        <a:rPr lang="en-IE" sz="1100" b="1" i="0" u="none" strike="noStrike">
                          <a:solidFill>
                            <a:srgbClr val="4C4C51"/>
                          </a:solidFill>
                          <a:effectLst/>
                          <a:latin typeface="Segoe UI" panose="020B0502040204020203" pitchFamily="34" charset="0"/>
                        </a:rPr>
                        <a:t>Features</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gridSpan="2">
                  <a:txBody>
                    <a:bodyPr/>
                    <a:lstStyle/>
                    <a:p>
                      <a:pPr algn="ctr" fontAlgn="t"/>
                      <a:r>
                        <a:rPr lang="en-IE" sz="1100" b="1" i="0" u="none" strike="noStrike">
                          <a:solidFill>
                            <a:srgbClr val="4C4C51"/>
                          </a:solidFill>
                          <a:effectLst/>
                          <a:latin typeface="Segoe UI" panose="020B0502040204020203" pitchFamily="34" charset="0"/>
                        </a:rPr>
                        <a:t>Price</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hMerge="1">
                  <a:txBody>
                    <a:bodyPr/>
                    <a:lstStyle/>
                    <a:p>
                      <a:endParaRPr lang="en-IE"/>
                    </a:p>
                  </a:txBody>
                  <a:tcPr/>
                </a:tc>
                <a:extLst>
                  <a:ext uri="{0D108BD9-81ED-4DB2-BD59-A6C34878D82A}">
                    <a16:rowId xmlns:a16="http://schemas.microsoft.com/office/drawing/2014/main" val="3769270602"/>
                  </a:ext>
                </a:extLst>
              </a:tr>
              <a:tr h="242115">
                <a:tc>
                  <a:txBody>
                    <a:bodyPr/>
                    <a:lstStyle/>
                    <a:p>
                      <a:pPr algn="l" fontAlgn="t"/>
                      <a:r>
                        <a:rPr lang="en-IE" sz="700" b="0" i="0" u="none" strike="noStrike">
                          <a:solidFill>
                            <a:srgbClr val="4C4C51"/>
                          </a:solidFill>
                          <a:effectLst/>
                          <a:latin typeface="Segoe UI" panose="020B0502040204020203" pitchFamily="34" charset="0"/>
                        </a:rPr>
                        <a:t>Speech to Text</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Real-time</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Batch</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1826621088"/>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vMerge="1">
                  <a:txBody>
                    <a:bodyPr/>
                    <a:lstStyle/>
                    <a:p>
                      <a:endParaRPr lang="en-IE"/>
                    </a:p>
                  </a:txBody>
                  <a:tcPr/>
                </a:tc>
                <a:tc>
                  <a:txBody>
                    <a:bodyPr/>
                    <a:lstStyle/>
                    <a:p>
                      <a:pPr algn="l" fontAlgn="t"/>
                      <a:r>
                        <a:rPr lang="en-IE" sz="700" b="0" i="0" u="none" strike="noStrike">
                          <a:solidFill>
                            <a:srgbClr val="4C4C51"/>
                          </a:solidFill>
                          <a:effectLst/>
                          <a:latin typeface="Segoe UI" panose="020B0502040204020203" pitchFamily="34" charset="0"/>
                        </a:rPr>
                        <a:t>v3.2 API or higher</a:t>
                      </a:r>
                      <a:r>
                        <a:rPr lang="en-IE" sz="400" b="0" i="0" u="none" strike="noStrike">
                          <a:solidFill>
                            <a:srgbClr val="4C4C51"/>
                          </a:solidFill>
                          <a:effectLst/>
                          <a:latin typeface="Segoe UI" panose="020B0502040204020203" pitchFamily="34" charset="0"/>
                        </a:rPr>
                        <a:t>4</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162450226"/>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924</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333</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68915748"/>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Custom</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1.109</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0.416</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527624216"/>
                  </a:ext>
                </a:extLst>
              </a:tr>
              <a:tr h="43715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0.0497</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Endpoint hosting: N/A</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40459283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ustom Speech Training</a:t>
                      </a:r>
                      <a:r>
                        <a:rPr lang="en-IE" sz="400" b="0" i="0" u="none" strike="noStrike">
                          <a:solidFill>
                            <a:srgbClr val="4C4C51"/>
                          </a:solidFill>
                          <a:effectLst/>
                          <a:latin typeface="Segoe UI" panose="020B0502040204020203" pitchFamily="34" charset="0"/>
                        </a:rPr>
                        <a:t>6</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compute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887615911"/>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onversation Transcription Multichannel Audio </a:t>
                      </a:r>
                      <a:r>
                        <a:rPr lang="en-IE" sz="400" b="0" i="0" u="none" strike="noStrike">
                          <a:solidFill>
                            <a:srgbClr val="4C4C51"/>
                          </a:solidFill>
                          <a:effectLst/>
                          <a:latin typeface="Segoe UI" panose="020B0502040204020203" pitchFamily="34" charset="0"/>
                        </a:rPr>
                        <a:t>PREVIEW</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1.94</a:t>
                      </a:r>
                      <a:r>
                        <a:rPr lang="en-IE" sz="700" b="0" i="0" u="none" strike="noStrike">
                          <a:solidFill>
                            <a:srgbClr val="4C4C51"/>
                          </a:solidFill>
                          <a:effectLst/>
                          <a:latin typeface="Segoe UI" panose="020B0502040204020203" pitchFamily="34" charset="0"/>
                        </a:rPr>
                        <a:t> per hour</a:t>
                      </a:r>
                      <a:r>
                        <a:rPr lang="en-IE" sz="400" b="0" i="0" u="none" strike="noStrike">
                          <a:solidFill>
                            <a:srgbClr val="4C4C51"/>
                          </a:solidFill>
                          <a:effectLst/>
                          <a:latin typeface="Segoe UI" panose="020B0502040204020203" pitchFamily="34" charset="0"/>
                        </a:rPr>
                        <a:t>1</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N/A</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2331490"/>
                  </a:ext>
                </a:extLst>
              </a:tr>
              <a:tr h="269016">
                <a:tc>
                  <a:txBody>
                    <a:bodyPr/>
                    <a:lstStyle/>
                    <a:p>
                      <a:pPr algn="l" fontAlgn="t"/>
                      <a:r>
                        <a:rPr lang="en-IE" sz="700" b="0" i="0" u="none" strike="noStrike">
                          <a:solidFill>
                            <a:srgbClr val="4C4C51"/>
                          </a:solidFill>
                          <a:effectLst/>
                          <a:latin typeface="Segoe UI" panose="020B0502040204020203" pitchFamily="34" charset="0"/>
                        </a:rPr>
                        <a:t>Text to Speech</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13.853</a:t>
                      </a:r>
                      <a:r>
                        <a:rPr lang="en-GB" sz="700" b="0" i="0" u="none" strike="noStrike">
                          <a:solidFill>
                            <a:srgbClr val="4C4C51"/>
                          </a:solidFill>
                          <a:effectLst/>
                          <a:latin typeface="Segoe UI" panose="020B0502040204020203" pitchFamily="34" charset="0"/>
                        </a:rPr>
                        <a:t>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252694479"/>
                  </a:ext>
                </a:extLst>
              </a:tr>
              <a:tr h="242115">
                <a:tc>
                  <a:txBody>
                    <a:bodyPr/>
                    <a:lstStyle/>
                    <a:p>
                      <a:pPr algn="l" fontAlgn="t"/>
                      <a:r>
                        <a:rPr lang="en-IE" sz="700" b="0" i="0" u="none" strike="noStrike">
                          <a:solidFill>
                            <a:srgbClr val="4C4C51"/>
                          </a:solidFill>
                          <a:effectLst/>
                          <a:latin typeface="Segoe UI" panose="020B0502040204020203" pitchFamily="34" charset="0"/>
                        </a:rPr>
                        <a:t>(per character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 H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N/A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29045960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3">
                  <a:txBody>
                    <a:bodyPr/>
                    <a:lstStyle/>
                    <a:p>
                      <a:pPr algn="l" fontAlgn="t"/>
                      <a:r>
                        <a:rPr lang="en-IE" sz="700" b="0" i="0" u="none" strike="noStrike">
                          <a:solidFill>
                            <a:srgbClr val="4C4C51"/>
                          </a:solidFill>
                          <a:effectLst/>
                          <a:latin typeface="Segoe UI" panose="020B0502040204020203" pitchFamily="34" charset="0"/>
                        </a:rPr>
                        <a:t>Custom Neural</a:t>
                      </a:r>
                      <a:r>
                        <a:rPr lang="en-IE" sz="400" b="0" i="0" u="none" strike="noStrike">
                          <a:solidFill>
                            <a:srgbClr val="4C4C51"/>
                          </a:solidFill>
                          <a:effectLst/>
                          <a:latin typeface="Segoe UI" panose="020B0502040204020203" pitchFamily="34" charset="0"/>
                        </a:rPr>
                        <a:t>2</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Training: </a:t>
                      </a:r>
                      <a:r>
                        <a:rPr lang="en-GB" sz="900" b="1" i="0" u="none" strike="noStrike">
                          <a:solidFill>
                            <a:srgbClr val="4C4C51"/>
                          </a:solidFill>
                          <a:effectLst/>
                          <a:latin typeface="Segoe UI" panose="020B0502040204020203" pitchFamily="34" charset="0"/>
                        </a:rPr>
                        <a:t>€48.022</a:t>
                      </a:r>
                      <a:r>
                        <a:rPr lang="en-GB" sz="700" b="0" i="0" u="none" strike="noStrike">
                          <a:solidFill>
                            <a:srgbClr val="4C4C51"/>
                          </a:solidFill>
                          <a:effectLst/>
                          <a:latin typeface="Segoe UI" panose="020B0502040204020203" pitchFamily="34" charset="0"/>
                        </a:rPr>
                        <a:t> per compute hour, up to </a:t>
                      </a:r>
                      <a:r>
                        <a:rPr lang="en-GB" sz="900" b="1" i="0" u="none" strike="noStrike">
                          <a:solidFill>
                            <a:srgbClr val="4C4C51"/>
                          </a:solidFill>
                          <a:effectLst/>
                          <a:latin typeface="Segoe UI" panose="020B0502040204020203" pitchFamily="34" charset="0"/>
                        </a:rPr>
                        <a:t>€4,610.057</a:t>
                      </a:r>
                      <a:r>
                        <a:rPr lang="en-GB" sz="700" b="0" i="0" u="none" strike="noStrike">
                          <a:solidFill>
                            <a:srgbClr val="4C4C51"/>
                          </a:solidFill>
                          <a:effectLst/>
                          <a:latin typeface="Segoe UI" panose="020B0502040204020203" pitchFamily="34" charset="0"/>
                        </a:rPr>
                        <a:t> per training</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25411098"/>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22.164</a:t>
                      </a:r>
                      <a:r>
                        <a:rPr lang="en-GB" sz="700" b="0" i="0" u="none" strike="noStrike">
                          <a:solidFill>
                            <a:srgbClr val="4C4C51"/>
                          </a:solidFill>
                          <a:effectLst/>
                          <a:latin typeface="Segoe UI" panose="020B0502040204020203" pitchFamily="34" charset="0"/>
                        </a:rPr>
                        <a:t> per 1M characters</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804448150"/>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3.73</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35073564"/>
                  </a:ext>
                </a:extLst>
              </a:tr>
              <a:tr h="162531">
                <a:tc>
                  <a:txBody>
                    <a:bodyPr/>
                    <a:lstStyle/>
                    <a:p>
                      <a:pPr algn="l" fontAlgn="t"/>
                      <a:r>
                        <a:rPr lang="en-IE" sz="700" b="0" i="0" u="none" strike="noStrike">
                          <a:solidFill>
                            <a:srgbClr val="4C4C51"/>
                          </a:solidFill>
                          <a:effectLst/>
                          <a:latin typeface="Segoe UI" panose="020B0502040204020203" pitchFamily="34" charset="0"/>
                        </a:rPr>
                        <a:t>Speech Transla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gridSpan="2">
                  <a:txBody>
                    <a:bodyPr/>
                    <a:lstStyle/>
                    <a:p>
                      <a:pPr algn="l" fontAlgn="t"/>
                      <a:r>
                        <a:rPr lang="en-IE" sz="900" b="1" i="0" u="none" strike="noStrike">
                          <a:solidFill>
                            <a:srgbClr val="4C4C51"/>
                          </a:solidFill>
                          <a:effectLst/>
                          <a:latin typeface="Segoe UI" panose="020B0502040204020203" pitchFamily="34" charset="0"/>
                        </a:rPr>
                        <a:t>€2.31</a:t>
                      </a:r>
                      <a:r>
                        <a:rPr lang="en-IE" sz="700" b="0" i="0" u="none" strike="noStrike">
                          <a:solidFill>
                            <a:srgbClr val="4C4C51"/>
                          </a:solidFill>
                          <a:effectLst/>
                          <a:latin typeface="Segoe UI" panose="020B0502040204020203" pitchFamily="34" charset="0"/>
                        </a:rPr>
                        <a:t> per audio hour</a:t>
                      </a:r>
                      <a:r>
                        <a:rPr lang="en-IE" sz="400" b="0" i="0" u="none" strike="noStrike">
                          <a:solidFill>
                            <a:srgbClr val="4C4C51"/>
                          </a:solidFill>
                          <a:effectLst/>
                          <a:latin typeface="Segoe UI" panose="020B0502040204020203" pitchFamily="34" charset="0"/>
                        </a:rPr>
                        <a:t>7</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hMerge="1">
                  <a:txBody>
                    <a:bodyPr/>
                    <a:lstStyle/>
                    <a:p>
                      <a:endParaRPr lang="en-IE"/>
                    </a:p>
                  </a:txBody>
                  <a:tcPr/>
                </a:tc>
                <a:extLst>
                  <a:ext uri="{0D108BD9-81ED-4DB2-BD59-A6C34878D82A}">
                    <a16:rowId xmlns:a16="http://schemas.microsoft.com/office/drawing/2014/main" val="2046883150"/>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vMerge="1">
                  <a:txBody>
                    <a:bodyPr/>
                    <a:lstStyle/>
                    <a:p>
                      <a:endParaRPr lang="en-IE"/>
                    </a:p>
                  </a:txBody>
                  <a:tcPr/>
                </a:tc>
                <a:tc hMerge="1" vMerge="1">
                  <a:txBody>
                    <a:bodyPr/>
                    <a:lstStyle/>
                    <a:p>
                      <a:endParaRPr lang="en-IE"/>
                    </a:p>
                  </a:txBody>
                  <a:tcPr/>
                </a:tc>
                <a:extLst>
                  <a:ext uri="{0D108BD9-81ED-4DB2-BD59-A6C34878D82A}">
                    <a16:rowId xmlns:a16="http://schemas.microsoft.com/office/drawing/2014/main" val="4225378608"/>
                  </a:ext>
                </a:extLst>
              </a:tr>
              <a:tr h="269016">
                <a:tc>
                  <a:txBody>
                    <a:bodyPr/>
                    <a:lstStyle/>
                    <a:p>
                      <a:pPr algn="l" fontAlgn="t"/>
                      <a:r>
                        <a:rPr lang="en-IE" sz="700" b="0" i="0" u="none" strike="noStrike">
                          <a:solidFill>
                            <a:srgbClr val="4C4C51"/>
                          </a:solidFill>
                          <a:effectLst/>
                          <a:latin typeface="Segoe UI" panose="020B0502040204020203" pitchFamily="34" charset="0"/>
                        </a:rPr>
                        <a:t>Speaker Recogni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Ver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4.618</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610329104"/>
                  </a:ext>
                </a:extLst>
              </a:tr>
              <a:tr h="269016">
                <a:tc>
                  <a:txBody>
                    <a:bodyPr/>
                    <a:lstStyle/>
                    <a:p>
                      <a:pPr algn="l" fontAlgn="t"/>
                      <a:r>
                        <a:rPr lang="en-IE" sz="700" b="0" i="0" u="none" strike="noStrike">
                          <a:solidFill>
                            <a:srgbClr val="4C4C51"/>
                          </a:solidFill>
                          <a:effectLst/>
                          <a:latin typeface="Segoe UI" panose="020B0502040204020203" pitchFamily="34" charset="0"/>
                        </a:rPr>
                        <a:t>(per transaction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Ident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004436703"/>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Voice Profile Storage</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900" b="1" i="0" u="none" strike="noStrike" dirty="0">
                          <a:solidFill>
                            <a:srgbClr val="4C4C51"/>
                          </a:solidFill>
                          <a:effectLst/>
                          <a:latin typeface="Segoe UI" panose="020B0502040204020203" pitchFamily="34" charset="0"/>
                        </a:rPr>
                        <a:t>€0.185</a:t>
                      </a:r>
                      <a:r>
                        <a:rPr lang="en-GB" sz="700" b="0" i="0" u="none" strike="noStrike" dirty="0">
                          <a:solidFill>
                            <a:srgbClr val="4C4C51"/>
                          </a:solidFill>
                          <a:effectLst/>
                          <a:latin typeface="Segoe UI" panose="020B0502040204020203" pitchFamily="34" charset="0"/>
                        </a:rPr>
                        <a:t> per 1,000 voice profiles (10,000 free voice profiles per month)</a:t>
                      </a:r>
                      <a:endParaRPr lang="en-GB" sz="900" b="1" i="0" u="none" strike="noStrike" dirty="0">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3737303766"/>
                  </a:ext>
                </a:extLst>
              </a:tr>
            </a:tbl>
          </a:graphicData>
        </a:graphic>
      </p:graphicFrame>
    </p:spTree>
    <p:extLst>
      <p:ext uri="{BB962C8B-B14F-4D97-AF65-F5344CB8AC3E}">
        <p14:creationId xmlns:p14="http://schemas.microsoft.com/office/powerpoint/2010/main" val="4123881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FFB37-25DD-4EF8-8BB6-5169CCC34F1E}"/>
              </a:ext>
            </a:extLst>
          </p:cNvPr>
          <p:cNvSpPr>
            <a:spLocks noGrp="1"/>
          </p:cNvSpPr>
          <p:nvPr>
            <p:ph type="title"/>
          </p:nvPr>
        </p:nvSpPr>
        <p:spPr/>
        <p:txBody>
          <a:bodyPr/>
          <a:lstStyle/>
          <a:p>
            <a:r>
              <a:rPr lang="en-IE" dirty="0"/>
              <a:t>Azure OpenAI Services</a:t>
            </a:r>
          </a:p>
        </p:txBody>
      </p:sp>
      <p:sp>
        <p:nvSpPr>
          <p:cNvPr id="3" name="Content Placeholder 2">
            <a:extLst>
              <a:ext uri="{FF2B5EF4-FFF2-40B4-BE49-F238E27FC236}">
                <a16:creationId xmlns:a16="http://schemas.microsoft.com/office/drawing/2014/main" id="{E720247F-9D50-463C-8615-76096AD811BB}"/>
              </a:ext>
            </a:extLst>
          </p:cNvPr>
          <p:cNvSpPr>
            <a:spLocks noGrp="1"/>
          </p:cNvSpPr>
          <p:nvPr>
            <p:ph idx="1"/>
          </p:nvPr>
        </p:nvSpPr>
        <p:spPr/>
        <p:txBody>
          <a:bodyPr/>
          <a:lstStyle/>
          <a:p>
            <a:r>
              <a:rPr lang="en-IE" dirty="0"/>
              <a:t>LLM: ChatGPT </a:t>
            </a:r>
          </a:p>
          <a:p>
            <a:r>
              <a:rPr lang="en-IE" dirty="0"/>
              <a:t>Embeddings</a:t>
            </a:r>
          </a:p>
          <a:p>
            <a:r>
              <a:rPr lang="en-IE" dirty="0"/>
              <a:t>DALL-E – image generation</a:t>
            </a:r>
          </a:p>
          <a:p>
            <a:r>
              <a:rPr lang="en-IE" dirty="0"/>
              <a:t>Whisper – speech to text</a:t>
            </a:r>
          </a:p>
          <a:p>
            <a:r>
              <a:rPr lang="en-IE" dirty="0"/>
              <a:t>Text to Speech (Preview)</a:t>
            </a:r>
          </a:p>
          <a:p>
            <a:endParaRPr lang="en-IE" dirty="0"/>
          </a:p>
        </p:txBody>
      </p:sp>
      <p:pic>
        <p:nvPicPr>
          <p:cNvPr id="5" name="Graphic 4">
            <a:extLst>
              <a:ext uri="{FF2B5EF4-FFF2-40B4-BE49-F238E27FC236}">
                <a16:creationId xmlns:a16="http://schemas.microsoft.com/office/drawing/2014/main" id="{6E6294D2-3BD5-4A03-8355-29FF2AFEE6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8389" y="1690688"/>
            <a:ext cx="2400754" cy="2400754"/>
          </a:xfrm>
          <a:prstGeom prst="rect">
            <a:avLst/>
          </a:prstGeom>
        </p:spPr>
      </p:pic>
    </p:spTree>
    <p:extLst>
      <p:ext uri="{BB962C8B-B14F-4D97-AF65-F5344CB8AC3E}">
        <p14:creationId xmlns:p14="http://schemas.microsoft.com/office/powerpoint/2010/main" val="3241671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309DE-0286-4C17-B732-8D203165CA57}"/>
              </a:ext>
            </a:extLst>
          </p:cNvPr>
          <p:cNvSpPr>
            <a:spLocks noGrp="1"/>
          </p:cNvSpPr>
          <p:nvPr>
            <p:ph type="title"/>
          </p:nvPr>
        </p:nvSpPr>
        <p:spPr/>
        <p:txBody>
          <a:bodyPr/>
          <a:lstStyle/>
          <a:p>
            <a:r>
              <a:rPr lang="en-IE" dirty="0"/>
              <a:t>Dall-E generated images in MS Designer</a:t>
            </a:r>
          </a:p>
        </p:txBody>
      </p:sp>
      <p:pic>
        <p:nvPicPr>
          <p:cNvPr id="5" name="Content Placeholder 4" descr="A building made of legos&#10;&#10;Description automatically generated">
            <a:extLst>
              <a:ext uri="{FF2B5EF4-FFF2-40B4-BE49-F238E27FC236}">
                <a16:creationId xmlns:a16="http://schemas.microsoft.com/office/drawing/2014/main" id="{C247A6BA-2B0C-4CE7-B842-9100D3C20108}"/>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657268" y="1900781"/>
            <a:ext cx="4351338" cy="4351338"/>
          </a:xfrm>
        </p:spPr>
      </p:pic>
      <p:pic>
        <p:nvPicPr>
          <p:cNvPr id="7" name="Picture 6" descr="A person standing in front of a large bowl of mashed potatoes&#10;&#10;Description automatically generated">
            <a:extLst>
              <a:ext uri="{FF2B5EF4-FFF2-40B4-BE49-F238E27FC236}">
                <a16:creationId xmlns:a16="http://schemas.microsoft.com/office/drawing/2014/main" id="{D36868BC-62FE-4971-8F1F-E6BD20CE84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343" y="1900781"/>
            <a:ext cx="4351338" cy="4351338"/>
          </a:xfrm>
          <a:prstGeom prst="rect">
            <a:avLst/>
          </a:prstGeom>
        </p:spPr>
      </p:pic>
    </p:spTree>
    <p:extLst>
      <p:ext uri="{BB962C8B-B14F-4D97-AF65-F5344CB8AC3E}">
        <p14:creationId xmlns:p14="http://schemas.microsoft.com/office/powerpoint/2010/main" val="1779443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4B30-9D83-48C0-83F8-75527A209561}"/>
              </a:ext>
            </a:extLst>
          </p:cNvPr>
          <p:cNvSpPr>
            <a:spLocks noGrp="1"/>
          </p:cNvSpPr>
          <p:nvPr>
            <p:ph type="title"/>
          </p:nvPr>
        </p:nvSpPr>
        <p:spPr>
          <a:xfrm>
            <a:off x="838200" y="365125"/>
            <a:ext cx="10515600" cy="762217"/>
          </a:xfrm>
        </p:spPr>
        <p:txBody>
          <a:bodyPr/>
          <a:lstStyle/>
          <a:p>
            <a:r>
              <a:rPr lang="en-IE" dirty="0"/>
              <a:t>Azure OpenAI Service Pricing</a:t>
            </a:r>
          </a:p>
        </p:txBody>
      </p:sp>
      <p:pic>
        <p:nvPicPr>
          <p:cNvPr id="5" name="Picture 4">
            <a:extLst>
              <a:ext uri="{FF2B5EF4-FFF2-40B4-BE49-F238E27FC236}">
                <a16:creationId xmlns:a16="http://schemas.microsoft.com/office/drawing/2014/main" id="{79EE8F1F-7FD2-449B-8ED1-DA6F9E6795EE}"/>
              </a:ext>
            </a:extLst>
          </p:cNvPr>
          <p:cNvPicPr>
            <a:picLocks noChangeAspect="1"/>
          </p:cNvPicPr>
          <p:nvPr/>
        </p:nvPicPr>
        <p:blipFill>
          <a:blip r:embed="rId3"/>
          <a:stretch>
            <a:fillRect/>
          </a:stretch>
        </p:blipFill>
        <p:spPr>
          <a:xfrm>
            <a:off x="918714" y="1532714"/>
            <a:ext cx="10002689" cy="3394886"/>
          </a:xfrm>
          <a:prstGeom prst="rect">
            <a:avLst/>
          </a:prstGeom>
        </p:spPr>
      </p:pic>
    </p:spTree>
    <p:extLst>
      <p:ext uri="{BB962C8B-B14F-4D97-AF65-F5344CB8AC3E}">
        <p14:creationId xmlns:p14="http://schemas.microsoft.com/office/powerpoint/2010/main" val="25526054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549E6-E39B-4B04-B6B9-447B31EB8F6B}"/>
              </a:ext>
            </a:extLst>
          </p:cNvPr>
          <p:cNvSpPr>
            <a:spLocks noGrp="1"/>
          </p:cNvSpPr>
          <p:nvPr>
            <p:ph type="title"/>
          </p:nvPr>
        </p:nvSpPr>
        <p:spPr/>
        <p:txBody>
          <a:bodyPr/>
          <a:lstStyle/>
          <a:p>
            <a:r>
              <a:rPr lang="en-IE" dirty="0"/>
              <a:t>Azure AI Translator</a:t>
            </a:r>
          </a:p>
        </p:txBody>
      </p:sp>
      <p:sp>
        <p:nvSpPr>
          <p:cNvPr id="3" name="Content Placeholder 2">
            <a:extLst>
              <a:ext uri="{FF2B5EF4-FFF2-40B4-BE49-F238E27FC236}">
                <a16:creationId xmlns:a16="http://schemas.microsoft.com/office/drawing/2014/main" id="{7EFAB71F-57B8-4BE2-84A8-034553462638}"/>
              </a:ext>
            </a:extLst>
          </p:cNvPr>
          <p:cNvSpPr>
            <a:spLocks noGrp="1"/>
          </p:cNvSpPr>
          <p:nvPr>
            <p:ph idx="1"/>
          </p:nvPr>
        </p:nvSpPr>
        <p:spPr>
          <a:xfrm>
            <a:off x="838200" y="1825625"/>
            <a:ext cx="6549571" cy="4351338"/>
          </a:xfrm>
        </p:spPr>
        <p:txBody>
          <a:bodyPr>
            <a:normAutofit fontScale="92500" lnSpcReduction="20000"/>
          </a:bodyPr>
          <a:lstStyle/>
          <a:p>
            <a:r>
              <a:rPr lang="en-GB" dirty="0"/>
              <a:t>Text Translation</a:t>
            </a:r>
          </a:p>
          <a:p>
            <a:r>
              <a:rPr lang="en-GB" dirty="0"/>
              <a:t>Custom Translator</a:t>
            </a:r>
          </a:p>
          <a:p>
            <a:r>
              <a:rPr lang="en-GB" dirty="0"/>
              <a:t>Document Translation</a:t>
            </a:r>
          </a:p>
          <a:p>
            <a:r>
              <a:rPr lang="en-GB" dirty="0"/>
              <a:t>Speech Translation</a:t>
            </a:r>
          </a:p>
          <a:p>
            <a:r>
              <a:rPr lang="en-GB" dirty="0"/>
              <a:t>Language Detection</a:t>
            </a:r>
          </a:p>
          <a:p>
            <a:r>
              <a:rPr lang="en-GB" dirty="0"/>
              <a:t>Transliteration</a:t>
            </a:r>
          </a:p>
          <a:p>
            <a:r>
              <a:rPr lang="en-GB" dirty="0"/>
              <a:t>Translation Memory</a:t>
            </a:r>
          </a:p>
          <a:p>
            <a:r>
              <a:rPr lang="en-GB" dirty="0"/>
              <a:t>Customizable Neural Machine Translation</a:t>
            </a:r>
          </a:p>
          <a:p>
            <a:r>
              <a:rPr lang="en-GB" dirty="0"/>
              <a:t>Extensive Language Support</a:t>
            </a:r>
            <a:endParaRPr lang="en-IE" dirty="0"/>
          </a:p>
          <a:p>
            <a:pPr marL="0" indent="0">
              <a:buNone/>
            </a:pPr>
            <a:r>
              <a:rPr lang="en-IE" dirty="0"/>
              <a:t> </a:t>
            </a:r>
          </a:p>
        </p:txBody>
      </p:sp>
      <p:pic>
        <p:nvPicPr>
          <p:cNvPr id="5" name="Graphic 4">
            <a:extLst>
              <a:ext uri="{FF2B5EF4-FFF2-40B4-BE49-F238E27FC236}">
                <a16:creationId xmlns:a16="http://schemas.microsoft.com/office/drawing/2014/main" id="{925196FC-1566-45C1-BBA0-8143DEABB8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82152" y="1381919"/>
            <a:ext cx="2616767" cy="2616767"/>
          </a:xfrm>
          <a:prstGeom prst="rect">
            <a:avLst/>
          </a:prstGeom>
        </p:spPr>
      </p:pic>
    </p:spTree>
    <p:extLst>
      <p:ext uri="{BB962C8B-B14F-4D97-AF65-F5344CB8AC3E}">
        <p14:creationId xmlns:p14="http://schemas.microsoft.com/office/powerpoint/2010/main" val="41931346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9065C-3AEC-4300-8835-C1C002BA0958}"/>
              </a:ext>
            </a:extLst>
          </p:cNvPr>
          <p:cNvSpPr>
            <a:spLocks noGrp="1"/>
          </p:cNvSpPr>
          <p:nvPr>
            <p:ph type="title"/>
          </p:nvPr>
        </p:nvSpPr>
        <p:spPr>
          <a:xfrm>
            <a:off x="838200" y="365126"/>
            <a:ext cx="10515600" cy="655746"/>
          </a:xfrm>
        </p:spPr>
        <p:txBody>
          <a:bodyPr>
            <a:normAutofit fontScale="90000"/>
          </a:bodyPr>
          <a:lstStyle/>
          <a:p>
            <a:r>
              <a:rPr lang="en-IE" dirty="0"/>
              <a:t>Azure Translator Service Pricing</a:t>
            </a:r>
          </a:p>
        </p:txBody>
      </p:sp>
      <p:pic>
        <p:nvPicPr>
          <p:cNvPr id="5" name="Picture 4">
            <a:extLst>
              <a:ext uri="{FF2B5EF4-FFF2-40B4-BE49-F238E27FC236}">
                <a16:creationId xmlns:a16="http://schemas.microsoft.com/office/drawing/2014/main" id="{3969664F-49AC-4409-8559-409A6C72953E}"/>
              </a:ext>
            </a:extLst>
          </p:cNvPr>
          <p:cNvPicPr>
            <a:picLocks noChangeAspect="1"/>
          </p:cNvPicPr>
          <p:nvPr/>
        </p:nvPicPr>
        <p:blipFill>
          <a:blip r:embed="rId3"/>
          <a:stretch>
            <a:fillRect/>
          </a:stretch>
        </p:blipFill>
        <p:spPr>
          <a:xfrm>
            <a:off x="1066799" y="1428694"/>
            <a:ext cx="9659257" cy="4851911"/>
          </a:xfrm>
          <a:prstGeom prst="rect">
            <a:avLst/>
          </a:prstGeom>
        </p:spPr>
      </p:pic>
    </p:spTree>
    <p:extLst>
      <p:ext uri="{BB962C8B-B14F-4D97-AF65-F5344CB8AC3E}">
        <p14:creationId xmlns:p14="http://schemas.microsoft.com/office/powerpoint/2010/main" val="454531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5165-A26D-410E-92EE-258D419F5775}"/>
              </a:ext>
            </a:extLst>
          </p:cNvPr>
          <p:cNvSpPr>
            <a:spLocks noGrp="1"/>
          </p:cNvSpPr>
          <p:nvPr>
            <p:ph type="title"/>
          </p:nvPr>
        </p:nvSpPr>
        <p:spPr/>
        <p:txBody>
          <a:bodyPr/>
          <a:lstStyle/>
          <a:p>
            <a:r>
              <a:rPr lang="en-IE" dirty="0"/>
              <a:t>Azure Computer Vision service</a:t>
            </a:r>
          </a:p>
        </p:txBody>
      </p:sp>
      <p:pic>
        <p:nvPicPr>
          <p:cNvPr id="5" name="Content Placeholder 4">
            <a:extLst>
              <a:ext uri="{FF2B5EF4-FFF2-40B4-BE49-F238E27FC236}">
                <a16:creationId xmlns:a16="http://schemas.microsoft.com/office/drawing/2014/main" id="{5E040BEE-29DD-4178-8BBB-A8EF41C588CC}"/>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18046" y="2063864"/>
            <a:ext cx="3177268" cy="3177268"/>
          </a:xfrm>
        </p:spPr>
      </p:pic>
      <p:sp>
        <p:nvSpPr>
          <p:cNvPr id="6" name="Content Placeholder 2">
            <a:extLst>
              <a:ext uri="{FF2B5EF4-FFF2-40B4-BE49-F238E27FC236}">
                <a16:creationId xmlns:a16="http://schemas.microsoft.com/office/drawing/2014/main" id="{A5A7BD73-F61E-481A-B816-8D56183ED953}"/>
              </a:ext>
            </a:extLst>
          </p:cNvPr>
          <p:cNvSpPr txBox="1">
            <a:spLocks/>
          </p:cNvSpPr>
          <p:nvPr/>
        </p:nvSpPr>
        <p:spPr>
          <a:xfrm>
            <a:off x="838200" y="1825625"/>
            <a:ext cx="6549571"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Analysis</a:t>
            </a:r>
          </a:p>
          <a:p>
            <a:r>
              <a:rPr lang="en-IE" dirty="0"/>
              <a:t>Optical Character Recognition (OCR)</a:t>
            </a:r>
          </a:p>
          <a:p>
            <a:r>
              <a:rPr lang="en-IE" dirty="0"/>
              <a:t>Spatial Analysis</a:t>
            </a:r>
          </a:p>
          <a:p>
            <a:r>
              <a:rPr lang="en-IE" dirty="0"/>
              <a:t>Face Detection</a:t>
            </a:r>
          </a:p>
          <a:p>
            <a:r>
              <a:rPr lang="en-IE" dirty="0"/>
              <a:t>Form Recognizer</a:t>
            </a:r>
          </a:p>
          <a:p>
            <a:r>
              <a:rPr lang="en-IE" dirty="0"/>
              <a:t>Custom Vision</a:t>
            </a:r>
          </a:p>
          <a:p>
            <a:r>
              <a:rPr lang="en-IE" dirty="0"/>
              <a:t>Content Moderator</a:t>
            </a:r>
          </a:p>
          <a:p>
            <a:r>
              <a:rPr lang="en-IE" dirty="0"/>
              <a:t>Personalizer</a:t>
            </a:r>
          </a:p>
          <a:p>
            <a:r>
              <a:rPr lang="en-IE" dirty="0"/>
              <a:t>Computer Vision for Spatial Analysis </a:t>
            </a:r>
          </a:p>
          <a:p>
            <a:pPr marL="0" indent="0">
              <a:buFont typeface="Arial" panose="020B0604020202020204" pitchFamily="34" charset="0"/>
              <a:buNone/>
            </a:pPr>
            <a:r>
              <a:rPr lang="en-IE" dirty="0"/>
              <a:t> </a:t>
            </a:r>
          </a:p>
        </p:txBody>
      </p:sp>
    </p:spTree>
    <p:extLst>
      <p:ext uri="{BB962C8B-B14F-4D97-AF65-F5344CB8AC3E}">
        <p14:creationId xmlns:p14="http://schemas.microsoft.com/office/powerpoint/2010/main" val="36432160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9849-BAF3-4AA5-B25B-BE97B56C9A77}"/>
              </a:ext>
            </a:extLst>
          </p:cNvPr>
          <p:cNvSpPr>
            <a:spLocks noGrp="1"/>
          </p:cNvSpPr>
          <p:nvPr>
            <p:ph type="title"/>
          </p:nvPr>
        </p:nvSpPr>
        <p:spPr/>
        <p:txBody>
          <a:bodyPr/>
          <a:lstStyle/>
          <a:p>
            <a:r>
              <a:rPr lang="en-IE" dirty="0"/>
              <a:t>Azure Document Intelligence Service</a:t>
            </a:r>
          </a:p>
        </p:txBody>
      </p:sp>
      <p:sp>
        <p:nvSpPr>
          <p:cNvPr id="3" name="Content Placeholder 2">
            <a:extLst>
              <a:ext uri="{FF2B5EF4-FFF2-40B4-BE49-F238E27FC236}">
                <a16:creationId xmlns:a16="http://schemas.microsoft.com/office/drawing/2014/main" id="{724DDB0C-187F-425A-98A6-B667B3BC1EC0}"/>
              </a:ext>
            </a:extLst>
          </p:cNvPr>
          <p:cNvSpPr>
            <a:spLocks noGrp="1"/>
          </p:cNvSpPr>
          <p:nvPr>
            <p:ph idx="1"/>
          </p:nvPr>
        </p:nvSpPr>
        <p:spPr>
          <a:xfrm>
            <a:off x="422736" y="1690688"/>
            <a:ext cx="7864804" cy="4351338"/>
          </a:xfrm>
        </p:spPr>
        <p:txBody>
          <a:bodyPr>
            <a:normAutofit fontScale="92500" lnSpcReduction="10000"/>
          </a:bodyPr>
          <a:lstStyle/>
          <a:p>
            <a:r>
              <a:rPr lang="en-GB" b="1" dirty="0"/>
              <a:t>Prebuild Models: </a:t>
            </a:r>
            <a:r>
              <a:rPr lang="en-GB" dirty="0"/>
              <a:t>ID Document, Health Insurance card</a:t>
            </a:r>
          </a:p>
          <a:p>
            <a:r>
              <a:rPr lang="en-GB" b="1" dirty="0"/>
              <a:t>Document Analysis</a:t>
            </a:r>
            <a:r>
              <a:rPr lang="en-GB" dirty="0"/>
              <a:t>: Layout</a:t>
            </a:r>
          </a:p>
          <a:p>
            <a:r>
              <a:rPr lang="en-GB" b="1" dirty="0"/>
              <a:t>Automated Data Identification and Extraction</a:t>
            </a:r>
            <a:r>
              <a:rPr lang="en-GB" dirty="0"/>
              <a:t>: It enables the automated identification and extraction of data from various document formats, streamlining the process of turning documents into usable data</a:t>
            </a:r>
          </a:p>
          <a:p>
            <a:r>
              <a:rPr lang="en-GB" b="1" dirty="0"/>
              <a:t>Custom Extraction Models</a:t>
            </a:r>
            <a:r>
              <a:rPr lang="en-GB" dirty="0"/>
              <a:t>: You can develop custom models tailored to your specific data extraction needs, allowing for greater flexibility and accuracy in processing documents</a:t>
            </a:r>
            <a:endParaRPr lang="en-IE" dirty="0"/>
          </a:p>
        </p:txBody>
      </p:sp>
      <p:pic>
        <p:nvPicPr>
          <p:cNvPr id="4" name="Content Placeholder 4">
            <a:extLst>
              <a:ext uri="{FF2B5EF4-FFF2-40B4-BE49-F238E27FC236}">
                <a16:creationId xmlns:a16="http://schemas.microsoft.com/office/drawing/2014/main" id="{3FCC3C93-2487-4E59-B5E1-C874765887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16509" y="2370410"/>
            <a:ext cx="3177268" cy="3177268"/>
          </a:xfrm>
          <a:prstGeom prst="rect">
            <a:avLst/>
          </a:prstGeom>
        </p:spPr>
      </p:pic>
    </p:spTree>
    <p:extLst>
      <p:ext uri="{BB962C8B-B14F-4D97-AF65-F5344CB8AC3E}">
        <p14:creationId xmlns:p14="http://schemas.microsoft.com/office/powerpoint/2010/main" val="39762209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8AF5E-E358-A628-61A1-982672EE89BC}"/>
              </a:ext>
            </a:extLst>
          </p:cNvPr>
          <p:cNvSpPr>
            <a:spLocks noGrp="1"/>
          </p:cNvSpPr>
          <p:nvPr>
            <p:ph type="title"/>
          </p:nvPr>
        </p:nvSpPr>
        <p:spPr>
          <a:xfrm>
            <a:off x="838200" y="365126"/>
            <a:ext cx="10515600" cy="817632"/>
          </a:xfrm>
        </p:spPr>
        <p:txBody>
          <a:bodyPr/>
          <a:lstStyle/>
          <a:p>
            <a:r>
              <a:rPr lang="en-GB" dirty="0"/>
              <a:t>Irish Driving License</a:t>
            </a:r>
            <a:endParaRPr lang="en-IE" dirty="0"/>
          </a:p>
        </p:txBody>
      </p:sp>
      <p:sp>
        <p:nvSpPr>
          <p:cNvPr id="3" name="Content Placeholder 2">
            <a:extLst>
              <a:ext uri="{FF2B5EF4-FFF2-40B4-BE49-F238E27FC236}">
                <a16:creationId xmlns:a16="http://schemas.microsoft.com/office/drawing/2014/main" id="{67C97478-9C9A-06B9-0BF7-B4F30B07EAF5}"/>
              </a:ext>
            </a:extLst>
          </p:cNvPr>
          <p:cNvSpPr>
            <a:spLocks noGrp="1"/>
          </p:cNvSpPr>
          <p:nvPr>
            <p:ph idx="1"/>
          </p:nvPr>
        </p:nvSpPr>
        <p:spPr>
          <a:xfrm>
            <a:off x="326136" y="1265651"/>
            <a:ext cx="5671802" cy="5227223"/>
          </a:xfrm>
        </p:spPr>
        <p:txBody>
          <a:bodyPr>
            <a:normAutofit fontScale="55000" lnSpcReduction="20000"/>
          </a:bodyPr>
          <a:lstStyle/>
          <a:p>
            <a:pPr marL="0" indent="0">
              <a:buNone/>
            </a:pPr>
            <a:r>
              <a:rPr lang="en-GB" dirty="0"/>
              <a:t>First Name: ANNA has confidence: 0.716</a:t>
            </a:r>
          </a:p>
          <a:p>
            <a:pPr marL="0" indent="0">
              <a:buNone/>
            </a:pPr>
            <a:r>
              <a:rPr lang="en-GB" dirty="0"/>
              <a:t>Last Name: NOWAK has confidence: 0.714</a:t>
            </a:r>
          </a:p>
          <a:p>
            <a:pPr marL="0" indent="0">
              <a:buNone/>
            </a:pPr>
            <a:r>
              <a:rPr lang="en-GB" dirty="0"/>
              <a:t>Document Number: 00000DH79Y has confidence: 0.858</a:t>
            </a:r>
          </a:p>
          <a:p>
            <a:pPr marL="0" indent="0">
              <a:buNone/>
            </a:pPr>
            <a:r>
              <a:rPr lang="en-GB" dirty="0"/>
              <a:t>Date of Birth: 1982-06-28 has confidence: 0.782</a:t>
            </a:r>
          </a:p>
          <a:p>
            <a:pPr marL="0" indent="0">
              <a:buNone/>
            </a:pPr>
            <a:r>
              <a:rPr lang="en-GB" dirty="0"/>
              <a:t>Date of Expiration: 2023-01-24 has confidence: 0.852</a:t>
            </a:r>
          </a:p>
          <a:p>
            <a:pPr marL="0" indent="0">
              <a:buNone/>
            </a:pPr>
            <a:r>
              <a:rPr lang="en-GB" dirty="0"/>
              <a:t>Address: </a:t>
            </a:r>
            <a:r>
              <a:rPr lang="en-GB" dirty="0" err="1"/>
              <a:t>AddressValue</a:t>
            </a:r>
            <a:r>
              <a:rPr lang="en-GB" dirty="0"/>
              <a:t>(</a:t>
            </a:r>
          </a:p>
          <a:p>
            <a:pPr marL="180000" indent="0">
              <a:lnSpc>
                <a:spcPct val="70000"/>
              </a:lnSpc>
              <a:buNone/>
            </a:pPr>
            <a:r>
              <a:rPr lang="en-GB" dirty="0" err="1"/>
              <a:t>house_number</a:t>
            </a:r>
            <a:r>
              <a:rPr lang="en-GB" dirty="0"/>
              <a:t>=12, </a:t>
            </a:r>
          </a:p>
          <a:p>
            <a:pPr marL="180000" indent="0">
              <a:lnSpc>
                <a:spcPct val="70000"/>
              </a:lnSpc>
              <a:buNone/>
            </a:pPr>
            <a:r>
              <a:rPr lang="en-GB" dirty="0" err="1"/>
              <a:t>po_box</a:t>
            </a:r>
            <a:r>
              <a:rPr lang="en-GB" dirty="0"/>
              <a:t>=None, </a:t>
            </a:r>
          </a:p>
          <a:p>
            <a:pPr marL="180000" indent="0">
              <a:lnSpc>
                <a:spcPct val="70000"/>
              </a:lnSpc>
              <a:buNone/>
            </a:pPr>
            <a:r>
              <a:rPr lang="en-GB" dirty="0"/>
              <a:t>road=ROCKBARTON, </a:t>
            </a:r>
          </a:p>
          <a:p>
            <a:pPr marL="180000" indent="0">
              <a:lnSpc>
                <a:spcPct val="70000"/>
              </a:lnSpc>
              <a:buNone/>
            </a:pPr>
            <a:r>
              <a:rPr lang="en-GB" dirty="0"/>
              <a:t>city=MOUNT, GLASGOW, </a:t>
            </a:r>
          </a:p>
          <a:p>
            <a:pPr marL="180000" indent="0">
              <a:lnSpc>
                <a:spcPct val="70000"/>
              </a:lnSpc>
              <a:buNone/>
            </a:pPr>
            <a:r>
              <a:rPr lang="en-GB" dirty="0"/>
              <a:t>state=None, </a:t>
            </a:r>
          </a:p>
          <a:p>
            <a:pPr marL="180000" indent="0">
              <a:lnSpc>
                <a:spcPct val="70000"/>
              </a:lnSpc>
              <a:buNone/>
            </a:pPr>
            <a:r>
              <a:rPr lang="en-GB" dirty="0" err="1"/>
              <a:t>postal_code</a:t>
            </a:r>
            <a:r>
              <a:rPr lang="en-GB" dirty="0"/>
              <a:t>=None, </a:t>
            </a:r>
          </a:p>
          <a:p>
            <a:pPr marL="180000" indent="0">
              <a:lnSpc>
                <a:spcPct val="70000"/>
              </a:lnSpc>
              <a:buNone/>
            </a:pPr>
            <a:r>
              <a:rPr lang="en-GB" dirty="0" err="1"/>
              <a:t>country_region</a:t>
            </a:r>
            <a:r>
              <a:rPr lang="en-GB" dirty="0"/>
              <a:t>=None, </a:t>
            </a:r>
          </a:p>
          <a:p>
            <a:pPr marL="180000" indent="0">
              <a:lnSpc>
                <a:spcPct val="70000"/>
              </a:lnSpc>
              <a:buNone/>
            </a:pPr>
            <a:r>
              <a:rPr lang="en-GB" dirty="0" err="1"/>
              <a:t>street_address</a:t>
            </a:r>
            <a:r>
              <a:rPr lang="en-GB" dirty="0"/>
              <a:t>=12 ROCKBARTON, </a:t>
            </a:r>
          </a:p>
          <a:p>
            <a:pPr marL="180000" indent="0">
              <a:lnSpc>
                <a:spcPct val="70000"/>
              </a:lnSpc>
              <a:buNone/>
            </a:pPr>
            <a:r>
              <a:rPr lang="en-GB" dirty="0"/>
              <a:t>unit=None, </a:t>
            </a:r>
          </a:p>
          <a:p>
            <a:pPr marL="180000" indent="0">
              <a:lnSpc>
                <a:spcPct val="70000"/>
              </a:lnSpc>
              <a:buNone/>
            </a:pPr>
            <a:r>
              <a:rPr lang="en-GB" dirty="0" err="1"/>
              <a:t>city_district</a:t>
            </a:r>
            <a:r>
              <a:rPr lang="en-GB" dirty="0"/>
              <a:t>=None, </a:t>
            </a:r>
          </a:p>
          <a:p>
            <a:pPr marL="180000" indent="0">
              <a:lnSpc>
                <a:spcPct val="70000"/>
              </a:lnSpc>
              <a:buNone/>
            </a:pPr>
            <a:r>
              <a:rPr lang="en-GB" dirty="0" err="1"/>
              <a:t>state_district</a:t>
            </a:r>
            <a:r>
              <a:rPr lang="en-GB" dirty="0"/>
              <a:t>=GALWAY, </a:t>
            </a:r>
          </a:p>
          <a:p>
            <a:pPr marL="180000" indent="0">
              <a:lnSpc>
                <a:spcPct val="70000"/>
              </a:lnSpc>
              <a:buNone/>
            </a:pPr>
            <a:r>
              <a:rPr lang="en-GB" dirty="0"/>
              <a:t>suburb=None, </a:t>
            </a:r>
          </a:p>
          <a:p>
            <a:pPr marL="180000" indent="0">
              <a:lnSpc>
                <a:spcPct val="70000"/>
              </a:lnSpc>
              <a:buNone/>
            </a:pPr>
            <a:r>
              <a:rPr lang="en-GB" dirty="0"/>
              <a:t>house=None, </a:t>
            </a:r>
          </a:p>
          <a:p>
            <a:pPr marL="180000" indent="0">
              <a:lnSpc>
                <a:spcPct val="70000"/>
              </a:lnSpc>
              <a:buNone/>
            </a:pPr>
            <a:r>
              <a:rPr lang="en-GB" dirty="0"/>
              <a:t>level=None) has confidence: 0.716</a:t>
            </a:r>
            <a:endParaRPr lang="en-IE" dirty="0"/>
          </a:p>
        </p:txBody>
      </p:sp>
      <p:pic>
        <p:nvPicPr>
          <p:cNvPr id="5" name="Picture 4" descr="A close-up of a driver's license&#10;&#10;Description automatically generated">
            <a:extLst>
              <a:ext uri="{FF2B5EF4-FFF2-40B4-BE49-F238E27FC236}">
                <a16:creationId xmlns:a16="http://schemas.microsoft.com/office/drawing/2014/main" id="{19615137-F55A-C223-1687-612E8C8B2E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8654" y="1660732"/>
            <a:ext cx="5671802" cy="3536535"/>
          </a:xfrm>
          <a:prstGeom prst="rect">
            <a:avLst/>
          </a:prstGeom>
        </p:spPr>
      </p:pic>
    </p:spTree>
    <p:extLst>
      <p:ext uri="{BB962C8B-B14F-4D97-AF65-F5344CB8AC3E}">
        <p14:creationId xmlns:p14="http://schemas.microsoft.com/office/powerpoint/2010/main" val="3599703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58D4-1E5F-3299-7677-B98411C5FD49}"/>
              </a:ext>
            </a:extLst>
          </p:cNvPr>
          <p:cNvSpPr>
            <a:spLocks noGrp="1"/>
          </p:cNvSpPr>
          <p:nvPr>
            <p:ph type="title"/>
          </p:nvPr>
        </p:nvSpPr>
        <p:spPr/>
        <p:txBody>
          <a:bodyPr/>
          <a:lstStyle/>
          <a:p>
            <a:r>
              <a:rPr lang="en-IE" dirty="0"/>
              <a:t>Agenda</a:t>
            </a:r>
          </a:p>
        </p:txBody>
      </p:sp>
      <p:sp>
        <p:nvSpPr>
          <p:cNvPr id="3" name="Content Placeholder 2">
            <a:extLst>
              <a:ext uri="{FF2B5EF4-FFF2-40B4-BE49-F238E27FC236}">
                <a16:creationId xmlns:a16="http://schemas.microsoft.com/office/drawing/2014/main" id="{E0FED539-7428-8BDE-A563-9E9DA1FED226}"/>
              </a:ext>
            </a:extLst>
          </p:cNvPr>
          <p:cNvSpPr>
            <a:spLocks noGrp="1"/>
          </p:cNvSpPr>
          <p:nvPr>
            <p:ph idx="1"/>
          </p:nvPr>
        </p:nvSpPr>
        <p:spPr/>
        <p:txBody>
          <a:bodyPr/>
          <a:lstStyle/>
          <a:p>
            <a:r>
              <a:rPr lang="en-IE" dirty="0"/>
              <a:t>Intro and background</a:t>
            </a:r>
          </a:p>
          <a:p>
            <a:r>
              <a:rPr lang="en-IE" dirty="0"/>
              <a:t>Summariser Demo </a:t>
            </a:r>
          </a:p>
          <a:p>
            <a:r>
              <a:rPr lang="en-IE" dirty="0"/>
              <a:t>Overview of Azure Services</a:t>
            </a:r>
          </a:p>
          <a:p>
            <a:pPr lvl="1"/>
            <a:r>
              <a:rPr lang="en-IE" dirty="0"/>
              <a:t>Azure Speech Service</a:t>
            </a:r>
          </a:p>
          <a:p>
            <a:pPr lvl="1"/>
            <a:r>
              <a:rPr lang="en-IE" dirty="0"/>
              <a:t>Azure OpenAI Service</a:t>
            </a:r>
          </a:p>
          <a:p>
            <a:pPr lvl="1"/>
            <a:r>
              <a:rPr lang="en-IE" dirty="0"/>
              <a:t>Azure Translator Service</a:t>
            </a:r>
          </a:p>
          <a:p>
            <a:pPr lvl="1"/>
            <a:endParaRPr lang="en-IE" dirty="0"/>
          </a:p>
        </p:txBody>
      </p:sp>
    </p:spTree>
    <p:extLst>
      <p:ext uri="{BB962C8B-B14F-4D97-AF65-F5344CB8AC3E}">
        <p14:creationId xmlns:p14="http://schemas.microsoft.com/office/powerpoint/2010/main" val="2776172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F1CF2-D383-D738-3B8A-2F7D1879605A}"/>
              </a:ext>
            </a:extLst>
          </p:cNvPr>
          <p:cNvSpPr>
            <a:spLocks noGrp="1"/>
          </p:cNvSpPr>
          <p:nvPr>
            <p:ph type="title"/>
          </p:nvPr>
        </p:nvSpPr>
        <p:spPr/>
        <p:txBody>
          <a:bodyPr/>
          <a:lstStyle/>
          <a:p>
            <a:r>
              <a:rPr lang="en-GB" dirty="0"/>
              <a:t>Greek Driving License</a:t>
            </a:r>
            <a:endParaRPr lang="en-IE" dirty="0"/>
          </a:p>
        </p:txBody>
      </p:sp>
      <p:pic>
        <p:nvPicPr>
          <p:cNvPr id="5" name="Content Placeholder 4" descr="A person's photo on a passport&#10;&#10;Description automatically generated">
            <a:extLst>
              <a:ext uri="{FF2B5EF4-FFF2-40B4-BE49-F238E27FC236}">
                <a16:creationId xmlns:a16="http://schemas.microsoft.com/office/drawing/2014/main" id="{85EA21EB-210E-3382-15D2-82B8CF6A9B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1512112"/>
            <a:ext cx="5599164" cy="3482340"/>
          </a:xfrm>
        </p:spPr>
      </p:pic>
      <p:sp>
        <p:nvSpPr>
          <p:cNvPr id="6" name="TextBox 5">
            <a:extLst>
              <a:ext uri="{FF2B5EF4-FFF2-40B4-BE49-F238E27FC236}">
                <a16:creationId xmlns:a16="http://schemas.microsoft.com/office/drawing/2014/main" id="{34BDDFCD-7C65-6D6D-3AC3-96372FA459A0}"/>
              </a:ext>
            </a:extLst>
          </p:cNvPr>
          <p:cNvSpPr txBox="1"/>
          <p:nvPr/>
        </p:nvSpPr>
        <p:spPr>
          <a:xfrm>
            <a:off x="378920" y="2099120"/>
            <a:ext cx="546811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Will need to specify the </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hlinkClick r:id="rId3" action="ppaction://hlinkfile"/>
              </a:rPr>
              <a:t>correct locale</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err="1">
                <a:ln>
                  <a:noFill/>
                </a:ln>
                <a:solidFill>
                  <a:srgbClr val="9CDCFE"/>
                </a:solidFill>
                <a:effectLst/>
                <a:uLnTx/>
                <a:uFillTx/>
                <a:latin typeface="Consolas" panose="020B0609020204030204" pitchFamily="49" charset="0"/>
                <a:ea typeface="+mn-ea"/>
                <a:cs typeface="+mn-cs"/>
              </a:rPr>
              <a:t>fr_locale</a:t>
            </a:r>
            <a:r>
              <a:rPr kumimoji="0" lang="en-IE"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el</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IE" sz="1800" b="0" i="0" u="none" strike="noStrike" kern="1200" cap="none" spc="0" normalizeH="0" baseline="0" noProof="0" dirty="0">
              <a:ln>
                <a:noFill/>
              </a:ln>
              <a:solidFill>
                <a:srgbClr val="CCCCCC"/>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rst Name: ΙΩΑΝΝΟΥ IOANNOU confidence: 0.6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Last Name: ΓΕΩΡΓΙΟΣ GEORGIOS confidence: 0.6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ocument Number: 123456789&lt;A confidence: 0.8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Birth: 1975-05-15 has confidence: 0.85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Expiration: 2029-02-18 has confidence: 0.86</a:t>
            </a: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3806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F353-6F65-4EC8-8329-1EFAAAA3B6FF}"/>
              </a:ext>
            </a:extLst>
          </p:cNvPr>
          <p:cNvSpPr>
            <a:spLocks noGrp="1"/>
          </p:cNvSpPr>
          <p:nvPr>
            <p:ph type="title"/>
          </p:nvPr>
        </p:nvSpPr>
        <p:spPr/>
        <p:txBody>
          <a:bodyPr/>
          <a:lstStyle/>
          <a:p>
            <a:r>
              <a:rPr lang="en-IE" dirty="0"/>
              <a:t>Azure Document Intelligence Pricing</a:t>
            </a:r>
          </a:p>
        </p:txBody>
      </p:sp>
      <p:pic>
        <p:nvPicPr>
          <p:cNvPr id="5" name="Picture 4">
            <a:extLst>
              <a:ext uri="{FF2B5EF4-FFF2-40B4-BE49-F238E27FC236}">
                <a16:creationId xmlns:a16="http://schemas.microsoft.com/office/drawing/2014/main" id="{17FAEA1B-E516-4A04-A7C8-11230B10C348}"/>
              </a:ext>
            </a:extLst>
          </p:cNvPr>
          <p:cNvPicPr>
            <a:picLocks noChangeAspect="1"/>
          </p:cNvPicPr>
          <p:nvPr/>
        </p:nvPicPr>
        <p:blipFill>
          <a:blip r:embed="rId3"/>
          <a:stretch>
            <a:fillRect/>
          </a:stretch>
        </p:blipFill>
        <p:spPr>
          <a:xfrm>
            <a:off x="1204685" y="1868168"/>
            <a:ext cx="9608457" cy="4368974"/>
          </a:xfrm>
          <a:prstGeom prst="rect">
            <a:avLst/>
          </a:prstGeom>
        </p:spPr>
      </p:pic>
    </p:spTree>
    <p:extLst>
      <p:ext uri="{BB962C8B-B14F-4D97-AF65-F5344CB8AC3E}">
        <p14:creationId xmlns:p14="http://schemas.microsoft.com/office/powerpoint/2010/main" val="1658461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64D2-87E6-4C9C-9C56-53CEB3B3E0FB}"/>
              </a:ext>
            </a:extLst>
          </p:cNvPr>
          <p:cNvSpPr>
            <a:spLocks noGrp="1"/>
          </p:cNvSpPr>
          <p:nvPr>
            <p:ph type="title"/>
          </p:nvPr>
        </p:nvSpPr>
        <p:spPr/>
        <p:txBody>
          <a:bodyPr/>
          <a:lstStyle/>
          <a:p>
            <a:r>
              <a:rPr lang="en-IE" dirty="0"/>
              <a:t>Azure Custom Vision Service</a:t>
            </a:r>
          </a:p>
        </p:txBody>
      </p:sp>
      <p:pic>
        <p:nvPicPr>
          <p:cNvPr id="5" name="Content Placeholder 4">
            <a:extLst>
              <a:ext uri="{FF2B5EF4-FFF2-40B4-BE49-F238E27FC236}">
                <a16:creationId xmlns:a16="http://schemas.microsoft.com/office/drawing/2014/main" id="{2ACDE46F-5C16-440F-99B4-8543F271C2DF}"/>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18830" y="1832770"/>
            <a:ext cx="2819060" cy="2819060"/>
          </a:xfrm>
        </p:spPr>
      </p:pic>
      <p:sp>
        <p:nvSpPr>
          <p:cNvPr id="6" name="Content Placeholder 2">
            <a:extLst>
              <a:ext uri="{FF2B5EF4-FFF2-40B4-BE49-F238E27FC236}">
                <a16:creationId xmlns:a16="http://schemas.microsoft.com/office/drawing/2014/main" id="{B55E6359-D03F-45AB-B420-5DAB961A0A38}"/>
              </a:ext>
            </a:extLst>
          </p:cNvPr>
          <p:cNvSpPr txBox="1">
            <a:spLocks/>
          </p:cNvSpPr>
          <p:nvPr/>
        </p:nvSpPr>
        <p:spPr>
          <a:xfrm>
            <a:off x="664028" y="2503714"/>
            <a:ext cx="6549571" cy="34773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Classification </a:t>
            </a:r>
          </a:p>
          <a:p>
            <a:r>
              <a:rPr lang="en-IE" dirty="0"/>
              <a:t>Object Detection</a:t>
            </a:r>
          </a:p>
        </p:txBody>
      </p:sp>
    </p:spTree>
    <p:extLst>
      <p:ext uri="{BB962C8B-B14F-4D97-AF65-F5344CB8AC3E}">
        <p14:creationId xmlns:p14="http://schemas.microsoft.com/office/powerpoint/2010/main" val="3988554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C7586-84A2-43AB-9640-0A675B41873B}"/>
              </a:ext>
            </a:extLst>
          </p:cNvPr>
          <p:cNvSpPr>
            <a:spLocks noGrp="1"/>
          </p:cNvSpPr>
          <p:nvPr>
            <p:ph type="title"/>
          </p:nvPr>
        </p:nvSpPr>
        <p:spPr>
          <a:xfrm>
            <a:off x="307668" y="5364596"/>
            <a:ext cx="6022248" cy="729306"/>
          </a:xfrm>
        </p:spPr>
        <p:txBody>
          <a:bodyPr>
            <a:normAutofit fontScale="90000"/>
          </a:bodyPr>
          <a:lstStyle/>
          <a:p>
            <a:r>
              <a:rPr lang="en-IE" dirty="0"/>
              <a:t>Azure Custom Vision – Image Recognition with a pre-trained model</a:t>
            </a:r>
          </a:p>
        </p:txBody>
      </p:sp>
      <p:pic>
        <p:nvPicPr>
          <p:cNvPr id="7" name="Content Placeholder 6">
            <a:extLst>
              <a:ext uri="{FF2B5EF4-FFF2-40B4-BE49-F238E27FC236}">
                <a16:creationId xmlns:a16="http://schemas.microsoft.com/office/drawing/2014/main" id="{AAB0C8FD-C9D7-431F-ABF0-84C6A48E80F6}"/>
              </a:ext>
            </a:extLst>
          </p:cNvPr>
          <p:cNvPicPr>
            <a:picLocks noGrp="1" noChangeAspect="1"/>
          </p:cNvPicPr>
          <p:nvPr>
            <p:ph idx="1"/>
          </p:nvPr>
        </p:nvPicPr>
        <p:blipFill>
          <a:blip r:embed="rId2"/>
          <a:stretch>
            <a:fillRect/>
          </a:stretch>
        </p:blipFill>
        <p:spPr>
          <a:xfrm>
            <a:off x="7808355" y="903244"/>
            <a:ext cx="3659313" cy="1984337"/>
          </a:xfrm>
        </p:spPr>
      </p:pic>
      <p:pic>
        <p:nvPicPr>
          <p:cNvPr id="5" name="Picture 4">
            <a:extLst>
              <a:ext uri="{FF2B5EF4-FFF2-40B4-BE49-F238E27FC236}">
                <a16:creationId xmlns:a16="http://schemas.microsoft.com/office/drawing/2014/main" id="{ABD02878-D465-402E-A521-C39180A9A293}"/>
              </a:ext>
            </a:extLst>
          </p:cNvPr>
          <p:cNvPicPr>
            <a:picLocks noChangeAspect="1"/>
          </p:cNvPicPr>
          <p:nvPr/>
        </p:nvPicPr>
        <p:blipFill>
          <a:blip r:embed="rId3"/>
          <a:stretch>
            <a:fillRect/>
          </a:stretch>
        </p:blipFill>
        <p:spPr>
          <a:xfrm>
            <a:off x="43894" y="522588"/>
            <a:ext cx="4150303" cy="3009091"/>
          </a:xfrm>
          <a:prstGeom prst="rect">
            <a:avLst/>
          </a:prstGeom>
        </p:spPr>
      </p:pic>
      <p:sp>
        <p:nvSpPr>
          <p:cNvPr id="8" name="TextBox 7">
            <a:extLst>
              <a:ext uri="{FF2B5EF4-FFF2-40B4-BE49-F238E27FC236}">
                <a16:creationId xmlns:a16="http://schemas.microsoft.com/office/drawing/2014/main" id="{3038C136-F8CF-4D0D-AC06-81D7D23792BA}"/>
              </a:ext>
            </a:extLst>
          </p:cNvPr>
          <p:cNvSpPr txBox="1"/>
          <p:nvPr/>
        </p:nvSpPr>
        <p:spPr>
          <a:xfrm>
            <a:off x="7383327" y="6141204"/>
            <a:ext cx="4675470" cy="461665"/>
          </a:xfrm>
          <a:prstGeom prst="rect">
            <a:avLst/>
          </a:prstGeom>
          <a:noFill/>
        </p:spPr>
        <p:txBody>
          <a:bodyPr wrap="square" rtlCol="0">
            <a:spAutoFit/>
          </a:bodyPr>
          <a:lstStyle/>
          <a:p>
            <a:r>
              <a:rPr lang="en-IE" sz="2400" dirty="0">
                <a:solidFill>
                  <a:schemeClr val="bg1"/>
                </a:solidFill>
                <a:highlight>
                  <a:srgbClr val="000000"/>
                </a:highlight>
                <a:latin typeface="Cascadia Code" panose="020B0609020000020004" pitchFamily="49" charset="0"/>
                <a:cs typeface="Cascadia Code" panose="020B0609020000020004" pitchFamily="49" charset="0"/>
              </a:rPr>
              <a:t>Recognised text: TKT=3442</a:t>
            </a:r>
          </a:p>
        </p:txBody>
      </p:sp>
      <p:grpSp>
        <p:nvGrpSpPr>
          <p:cNvPr id="12" name="Group 11">
            <a:extLst>
              <a:ext uri="{FF2B5EF4-FFF2-40B4-BE49-F238E27FC236}">
                <a16:creationId xmlns:a16="http://schemas.microsoft.com/office/drawing/2014/main" id="{F7E41668-983C-471A-9D07-A3B60BFED0CB}"/>
              </a:ext>
            </a:extLst>
          </p:cNvPr>
          <p:cNvGrpSpPr/>
          <p:nvPr/>
        </p:nvGrpSpPr>
        <p:grpSpPr>
          <a:xfrm>
            <a:off x="5190922" y="1309273"/>
            <a:ext cx="1535556" cy="1734307"/>
            <a:chOff x="5086042" y="1379752"/>
            <a:chExt cx="1638605" cy="1907365"/>
          </a:xfrm>
        </p:grpSpPr>
        <p:pic>
          <p:nvPicPr>
            <p:cNvPr id="10" name="Graphic 9">
              <a:extLst>
                <a:ext uri="{FF2B5EF4-FFF2-40B4-BE49-F238E27FC236}">
                  <a16:creationId xmlns:a16="http://schemas.microsoft.com/office/drawing/2014/main" id="{C7A10CBD-9850-4174-91BA-F4A60217D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72997" y="1379752"/>
              <a:ext cx="1261034" cy="1261034"/>
            </a:xfrm>
            <a:prstGeom prst="rect">
              <a:avLst/>
            </a:prstGeom>
          </p:spPr>
        </p:pic>
        <p:sp>
          <p:nvSpPr>
            <p:cNvPr id="11" name="TextBox 10">
              <a:extLst>
                <a:ext uri="{FF2B5EF4-FFF2-40B4-BE49-F238E27FC236}">
                  <a16:creationId xmlns:a16="http://schemas.microsoft.com/office/drawing/2014/main" id="{E05AC8E5-8417-41C9-B082-82A9118AE3AE}"/>
                </a:ext>
              </a:extLst>
            </p:cNvPr>
            <p:cNvSpPr txBox="1"/>
            <p:nvPr/>
          </p:nvSpPr>
          <p:spPr>
            <a:xfrm>
              <a:off x="5086042" y="2640786"/>
              <a:ext cx="1638605" cy="646331"/>
            </a:xfrm>
            <a:prstGeom prst="rect">
              <a:avLst/>
            </a:prstGeom>
            <a:noFill/>
          </p:spPr>
          <p:txBody>
            <a:bodyPr wrap="square" rtlCol="0">
              <a:spAutoFit/>
            </a:bodyPr>
            <a:lstStyle/>
            <a:p>
              <a:pPr algn="ctr"/>
              <a:r>
                <a:rPr lang="en-IE" dirty="0"/>
                <a:t>Azure Custom Vision Service</a:t>
              </a:r>
            </a:p>
          </p:txBody>
        </p:sp>
      </p:grpSp>
      <p:sp>
        <p:nvSpPr>
          <p:cNvPr id="13" name="Arrow: Right 12">
            <a:extLst>
              <a:ext uri="{FF2B5EF4-FFF2-40B4-BE49-F238E27FC236}">
                <a16:creationId xmlns:a16="http://schemas.microsoft.com/office/drawing/2014/main" id="{35152580-E992-420D-B823-F43F04F4CC71}"/>
              </a:ext>
            </a:extLst>
          </p:cNvPr>
          <p:cNvSpPr/>
          <p:nvPr/>
        </p:nvSpPr>
        <p:spPr>
          <a:xfrm>
            <a:off x="4283511"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a:p>
        </p:txBody>
      </p:sp>
      <p:sp>
        <p:nvSpPr>
          <p:cNvPr id="14" name="Arrow: Right 13">
            <a:extLst>
              <a:ext uri="{FF2B5EF4-FFF2-40B4-BE49-F238E27FC236}">
                <a16:creationId xmlns:a16="http://schemas.microsoft.com/office/drawing/2014/main" id="{AAE95222-CF81-44AE-9DFC-755405C4E52C}"/>
              </a:ext>
            </a:extLst>
          </p:cNvPr>
          <p:cNvSpPr/>
          <p:nvPr/>
        </p:nvSpPr>
        <p:spPr>
          <a:xfrm>
            <a:off x="6803109"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grpSp>
        <p:nvGrpSpPr>
          <p:cNvPr id="4" name="Group 3">
            <a:extLst>
              <a:ext uri="{FF2B5EF4-FFF2-40B4-BE49-F238E27FC236}">
                <a16:creationId xmlns:a16="http://schemas.microsoft.com/office/drawing/2014/main" id="{1668A1E4-6E95-4A22-BDCB-A8A62CA4C441}"/>
              </a:ext>
            </a:extLst>
          </p:cNvPr>
          <p:cNvGrpSpPr/>
          <p:nvPr/>
        </p:nvGrpSpPr>
        <p:grpSpPr>
          <a:xfrm>
            <a:off x="8624614" y="3749608"/>
            <a:ext cx="2011680" cy="1652896"/>
            <a:chOff x="8763888" y="3609326"/>
            <a:chExt cx="2011680" cy="1652896"/>
          </a:xfrm>
        </p:grpSpPr>
        <p:pic>
          <p:nvPicPr>
            <p:cNvPr id="16" name="Graphic 15">
              <a:extLst>
                <a:ext uri="{FF2B5EF4-FFF2-40B4-BE49-F238E27FC236}">
                  <a16:creationId xmlns:a16="http://schemas.microsoft.com/office/drawing/2014/main" id="{A14FDFEF-E9F8-4292-B106-FCD7F304D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62557" y="3609326"/>
              <a:ext cx="1014342" cy="1014342"/>
            </a:xfrm>
            <a:prstGeom prst="rect">
              <a:avLst/>
            </a:prstGeom>
          </p:spPr>
        </p:pic>
        <p:sp>
          <p:nvSpPr>
            <p:cNvPr id="3" name="TextBox 2">
              <a:extLst>
                <a:ext uri="{FF2B5EF4-FFF2-40B4-BE49-F238E27FC236}">
                  <a16:creationId xmlns:a16="http://schemas.microsoft.com/office/drawing/2014/main" id="{FD0A651D-14D3-4F21-84EE-C7A9B6BB6737}"/>
                </a:ext>
              </a:extLst>
            </p:cNvPr>
            <p:cNvSpPr txBox="1"/>
            <p:nvPr/>
          </p:nvSpPr>
          <p:spPr>
            <a:xfrm>
              <a:off x="8763888" y="4615891"/>
              <a:ext cx="2011680" cy="646331"/>
            </a:xfrm>
            <a:prstGeom prst="rect">
              <a:avLst/>
            </a:prstGeom>
            <a:noFill/>
          </p:spPr>
          <p:txBody>
            <a:bodyPr wrap="square" rtlCol="0">
              <a:spAutoFit/>
            </a:bodyPr>
            <a:lstStyle/>
            <a:p>
              <a:pPr algn="ctr"/>
              <a:r>
                <a:rPr lang="en-IE" dirty="0"/>
                <a:t>Azure Computer Vision Service</a:t>
              </a:r>
            </a:p>
          </p:txBody>
        </p:sp>
      </p:grpSp>
      <p:sp>
        <p:nvSpPr>
          <p:cNvPr id="6" name="Arrow: Right 5">
            <a:extLst>
              <a:ext uri="{FF2B5EF4-FFF2-40B4-BE49-F238E27FC236}">
                <a16:creationId xmlns:a16="http://schemas.microsoft.com/office/drawing/2014/main" id="{BF6252A1-04E9-4C0C-85EE-5C1311D27032}"/>
              </a:ext>
            </a:extLst>
          </p:cNvPr>
          <p:cNvSpPr/>
          <p:nvPr/>
        </p:nvSpPr>
        <p:spPr>
          <a:xfrm rot="5400000">
            <a:off x="9308405" y="2844977"/>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
        <p:nvSpPr>
          <p:cNvPr id="15" name="Arrow: Right 14">
            <a:extLst>
              <a:ext uri="{FF2B5EF4-FFF2-40B4-BE49-F238E27FC236}">
                <a16:creationId xmlns:a16="http://schemas.microsoft.com/office/drawing/2014/main" id="{42D9C77B-0883-48E7-B93D-C0684E8C4AE2}"/>
              </a:ext>
            </a:extLst>
          </p:cNvPr>
          <p:cNvSpPr/>
          <p:nvPr/>
        </p:nvSpPr>
        <p:spPr>
          <a:xfrm rot="5400000">
            <a:off x="9308406" y="5407201"/>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Tree>
    <p:extLst>
      <p:ext uri="{BB962C8B-B14F-4D97-AF65-F5344CB8AC3E}">
        <p14:creationId xmlns:p14="http://schemas.microsoft.com/office/powerpoint/2010/main" val="39911676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8E1B-BF6F-4EEE-BD45-DAD87309ADE0}"/>
              </a:ext>
            </a:extLst>
          </p:cNvPr>
          <p:cNvSpPr>
            <a:spLocks noGrp="1"/>
          </p:cNvSpPr>
          <p:nvPr>
            <p:ph type="title"/>
          </p:nvPr>
        </p:nvSpPr>
        <p:spPr>
          <a:xfrm>
            <a:off x="838200" y="365126"/>
            <a:ext cx="10515600" cy="768480"/>
          </a:xfrm>
        </p:spPr>
        <p:txBody>
          <a:bodyPr/>
          <a:lstStyle/>
          <a:p>
            <a:r>
              <a:rPr lang="en-IE" dirty="0"/>
              <a:t>Azure Custom Vision Pricing</a:t>
            </a:r>
          </a:p>
        </p:txBody>
      </p:sp>
      <p:pic>
        <p:nvPicPr>
          <p:cNvPr id="5" name="Picture 4">
            <a:extLst>
              <a:ext uri="{FF2B5EF4-FFF2-40B4-BE49-F238E27FC236}">
                <a16:creationId xmlns:a16="http://schemas.microsoft.com/office/drawing/2014/main" id="{C3DC80E9-F483-402D-97AB-CE1E4BF63E45}"/>
              </a:ext>
            </a:extLst>
          </p:cNvPr>
          <p:cNvPicPr>
            <a:picLocks noChangeAspect="1"/>
          </p:cNvPicPr>
          <p:nvPr/>
        </p:nvPicPr>
        <p:blipFill>
          <a:blip r:embed="rId3"/>
          <a:stretch>
            <a:fillRect/>
          </a:stretch>
        </p:blipFill>
        <p:spPr>
          <a:xfrm>
            <a:off x="838200" y="1766556"/>
            <a:ext cx="10805886" cy="3324888"/>
          </a:xfrm>
          <a:prstGeom prst="rect">
            <a:avLst/>
          </a:prstGeom>
        </p:spPr>
      </p:pic>
    </p:spTree>
    <p:extLst>
      <p:ext uri="{BB962C8B-B14F-4D97-AF65-F5344CB8AC3E}">
        <p14:creationId xmlns:p14="http://schemas.microsoft.com/office/powerpoint/2010/main" val="32839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7CB15C31-4889-2A34-CF25-15AFF31FE33B}"/>
              </a:ext>
              <a:ext uri="{C183D7F6-B498-43B3-948B-1728B52AA6E4}">
                <adec:decorative xmlns:adec="http://schemas.microsoft.com/office/drawing/2017/decorative" val="1"/>
              </a:ext>
            </a:extLst>
          </p:cNvPr>
          <p:cNvSpPr/>
          <p:nvPr/>
        </p:nvSpPr>
        <p:spPr bwMode="auto">
          <a:xfrm>
            <a:off x="8453349" y="672635"/>
            <a:ext cx="3167151" cy="5596404"/>
          </a:xfrm>
          <a:prstGeom prst="roundRect">
            <a:avLst>
              <a:gd name="adj" fmla="val 2882"/>
            </a:avLst>
          </a:prstGeom>
          <a:solidFill>
            <a:schemeClr val="bg1"/>
          </a:solidFill>
          <a:ln w="19050">
            <a:gradFill flip="none" rotWithShape="1">
              <a:gsLst>
                <a:gs pos="0">
                  <a:srgbClr val="C03BC4"/>
                </a:gs>
                <a:gs pos="71000">
                  <a:srgbClr val="2A446F"/>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sym typeface="Helvetica Light"/>
            </a:endParaRPr>
          </a:p>
        </p:txBody>
      </p:sp>
      <p:sp>
        <p:nvSpPr>
          <p:cNvPr id="66" name="Characters_E8C1">
            <a:extLst>
              <a:ext uri="{FF2B5EF4-FFF2-40B4-BE49-F238E27FC236}">
                <a16:creationId xmlns:a16="http://schemas.microsoft.com/office/drawing/2014/main" id="{5170270C-042E-4DA0-021F-683D4A9BA4A1}"/>
              </a:ext>
              <a:ext uri="{C183D7F6-B498-43B3-948B-1728B52AA6E4}">
                <adec:decorative xmlns:adec="http://schemas.microsoft.com/office/drawing/2017/decorative" val="1"/>
              </a:ext>
            </a:extLst>
          </p:cNvPr>
          <p:cNvSpPr>
            <a:spLocks noChangeAspect="1" noEditPoints="1"/>
          </p:cNvSpPr>
          <p:nvPr/>
        </p:nvSpPr>
        <p:spPr bwMode="auto">
          <a:xfrm>
            <a:off x="9229871" y="4780031"/>
            <a:ext cx="445567" cy="47023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adFill flip="none" rotWithShape="1">
            <a:gsLst>
              <a:gs pos="0">
                <a:srgbClr val="C03BC4"/>
              </a:gs>
              <a:gs pos="61000">
                <a:srgbClr val="2A446F"/>
              </a:gs>
            </a:gsLst>
            <a:path path="circle">
              <a:fillToRect l="100000" t="100000"/>
            </a:path>
            <a:tileRect r="-100000" b="-100000"/>
          </a:gradFill>
          <a:ln w="19050">
            <a:no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81" name="Straight Connector 80">
            <a:extLst>
              <a:ext uri="{FF2B5EF4-FFF2-40B4-BE49-F238E27FC236}">
                <a16:creationId xmlns:a16="http://schemas.microsoft.com/office/drawing/2014/main" id="{D3996C63-381F-2087-53DF-D59A97BD871A}"/>
              </a:ext>
              <a:ext uri="{C183D7F6-B498-43B3-948B-1728B52AA6E4}">
                <adec:decorative xmlns:adec="http://schemas.microsoft.com/office/drawing/2017/decorative" val="1"/>
              </a:ext>
            </a:extLst>
          </p:cNvPr>
          <p:cNvCxnSpPr>
            <a:cxnSpLocks/>
          </p:cNvCxnSpPr>
          <p:nvPr/>
        </p:nvCxnSpPr>
        <p:spPr>
          <a:xfrm>
            <a:off x="2565400" y="3007772"/>
            <a:ext cx="4636897"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47AD057-802A-16CC-5106-315C7621EC5B}"/>
              </a:ext>
              <a:ext uri="{C183D7F6-B498-43B3-948B-1728B52AA6E4}">
                <adec:decorative xmlns:adec="http://schemas.microsoft.com/office/drawing/2017/decorative" val="1"/>
              </a:ext>
            </a:extLst>
          </p:cNvPr>
          <p:cNvCxnSpPr>
            <a:cxnSpLocks/>
          </p:cNvCxnSpPr>
          <p:nvPr/>
        </p:nvCxnSpPr>
        <p:spPr>
          <a:xfrm>
            <a:off x="2432050" y="4588417"/>
            <a:ext cx="4610315"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Fingerprint_E928">
            <a:extLst>
              <a:ext uri="{FF2B5EF4-FFF2-40B4-BE49-F238E27FC236}">
                <a16:creationId xmlns:a16="http://schemas.microsoft.com/office/drawing/2014/main" id="{A441A6BB-0C8F-99E0-8089-54F370D4956A}"/>
              </a:ext>
              <a:ext uri="{C183D7F6-B498-43B3-948B-1728B52AA6E4}">
                <adec:decorative xmlns:adec="http://schemas.microsoft.com/office/drawing/2017/decorative" val="1"/>
              </a:ext>
            </a:extLst>
          </p:cNvPr>
          <p:cNvSpPr>
            <a:spLocks noChangeAspect="1" noEditPoints="1"/>
          </p:cNvSpPr>
          <p:nvPr/>
        </p:nvSpPr>
        <p:spPr bwMode="auto">
          <a:xfrm flipH="1">
            <a:off x="10589703" y="4769178"/>
            <a:ext cx="378612" cy="50916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31750">
            <a:gradFill flip="none" rotWithShape="1">
              <a:gsLst>
                <a:gs pos="0">
                  <a:srgbClr val="C03BC4"/>
                </a:gs>
                <a:gs pos="68000">
                  <a:srgbClr val="2A446F"/>
                </a:gs>
              </a:gsLst>
              <a:lin ang="0" scaled="1"/>
              <a:tileRect/>
            </a:grad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127" name="Group 126">
            <a:extLst>
              <a:ext uri="{FF2B5EF4-FFF2-40B4-BE49-F238E27FC236}">
                <a16:creationId xmlns:a16="http://schemas.microsoft.com/office/drawing/2014/main" id="{B316F927-5090-3DB6-24B4-3E6CF3D14EB4}"/>
              </a:ext>
              <a:ext uri="{C183D7F6-B498-43B3-948B-1728B52AA6E4}">
                <adec:decorative xmlns:adec="http://schemas.microsoft.com/office/drawing/2017/decorative" val="1"/>
              </a:ext>
            </a:extLst>
          </p:cNvPr>
          <p:cNvGrpSpPr/>
          <p:nvPr/>
        </p:nvGrpSpPr>
        <p:grpSpPr>
          <a:xfrm rot="5400000">
            <a:off x="6751383" y="2929301"/>
            <a:ext cx="2129527" cy="1251752"/>
            <a:chOff x="5036917" y="4309904"/>
            <a:chExt cx="2129527" cy="687254"/>
          </a:xfrm>
        </p:grpSpPr>
        <p:sp>
          <p:nvSpPr>
            <p:cNvPr id="128" name="Freeform: Shape 81">
              <a:extLst>
                <a:ext uri="{FF2B5EF4-FFF2-40B4-BE49-F238E27FC236}">
                  <a16:creationId xmlns:a16="http://schemas.microsoft.com/office/drawing/2014/main" id="{A9435461-44D6-9525-F4AE-D4AC6C87C66E}"/>
                </a:ext>
              </a:extLst>
            </p:cNvPr>
            <p:cNvSpPr/>
            <p:nvPr/>
          </p:nvSpPr>
          <p:spPr>
            <a:xfrm>
              <a:off x="5036917" y="4309904"/>
              <a:ext cx="853056" cy="687254"/>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82">
              <a:extLst>
                <a:ext uri="{FF2B5EF4-FFF2-40B4-BE49-F238E27FC236}">
                  <a16:creationId xmlns:a16="http://schemas.microsoft.com/office/drawing/2014/main" id="{CD273372-3865-6179-65A9-310440409245}"/>
                </a:ext>
              </a:extLst>
            </p:cNvPr>
            <p:cNvSpPr/>
            <p:nvPr/>
          </p:nvSpPr>
          <p:spPr>
            <a:xfrm>
              <a:off x="5569299" y="4309904"/>
              <a:ext cx="426528" cy="687254"/>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83">
              <a:extLst>
                <a:ext uri="{FF2B5EF4-FFF2-40B4-BE49-F238E27FC236}">
                  <a16:creationId xmlns:a16="http://schemas.microsoft.com/office/drawing/2014/main" id="{DB265625-53A6-8849-113D-9B1679D7C75E}"/>
                </a:ext>
              </a:extLst>
            </p:cNvPr>
            <p:cNvSpPr/>
            <p:nvPr/>
          </p:nvSpPr>
          <p:spPr>
            <a:xfrm>
              <a:off x="6101681" y="4309904"/>
              <a:ext cx="12453" cy="678211"/>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Shape 84">
              <a:extLst>
                <a:ext uri="{FF2B5EF4-FFF2-40B4-BE49-F238E27FC236}">
                  <a16:creationId xmlns:a16="http://schemas.microsoft.com/office/drawing/2014/main" id="{EF9AF5B7-2103-7855-FD82-21FB5479824F}"/>
                </a:ext>
              </a:extLst>
            </p:cNvPr>
            <p:cNvSpPr/>
            <p:nvPr/>
          </p:nvSpPr>
          <p:spPr>
            <a:xfrm>
              <a:off x="6313388" y="4309904"/>
              <a:ext cx="853056" cy="687254"/>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85">
              <a:extLst>
                <a:ext uri="{FF2B5EF4-FFF2-40B4-BE49-F238E27FC236}">
                  <a16:creationId xmlns:a16="http://schemas.microsoft.com/office/drawing/2014/main" id="{870A22E6-275B-A128-103A-C1D3BB63321A}"/>
                </a:ext>
              </a:extLst>
            </p:cNvPr>
            <p:cNvSpPr/>
            <p:nvPr/>
          </p:nvSpPr>
          <p:spPr>
            <a:xfrm>
              <a:off x="6207535" y="4309904"/>
              <a:ext cx="426528" cy="687254"/>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11C3F51E-B263-8845-358A-FB8EE5D8FB37}"/>
              </a:ext>
              <a:ext uri="{C183D7F6-B498-43B3-948B-1728B52AA6E4}">
                <adec:decorative xmlns:adec="http://schemas.microsoft.com/office/drawing/2017/decorative" val="1"/>
              </a:ext>
            </a:extLst>
          </p:cNvPr>
          <p:cNvGrpSpPr/>
          <p:nvPr/>
        </p:nvGrpSpPr>
        <p:grpSpPr>
          <a:xfrm>
            <a:off x="9170549" y="3229525"/>
            <a:ext cx="491443" cy="633860"/>
            <a:chOff x="9728015" y="2778570"/>
            <a:chExt cx="598287" cy="771666"/>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36" name="Freeform: Shape 135">
              <a:extLst>
                <a:ext uri="{FF2B5EF4-FFF2-40B4-BE49-F238E27FC236}">
                  <a16:creationId xmlns:a16="http://schemas.microsoft.com/office/drawing/2014/main" id="{BF248D4B-8D5B-C0D2-70BE-0D610DEE61FD}"/>
                </a:ext>
              </a:extLst>
            </p:cNvPr>
            <p:cNvSpPr/>
            <p:nvPr/>
          </p:nvSpPr>
          <p:spPr>
            <a:xfrm>
              <a:off x="9806475" y="3407361"/>
              <a:ext cx="457199" cy="142875"/>
            </a:xfrm>
            <a:custGeom>
              <a:avLst/>
              <a:gdLst>
                <a:gd name="connsiteX0" fmla="*/ 385762 w 457199"/>
                <a:gd name="connsiteY0" fmla="*/ 0 h 142875"/>
                <a:gd name="connsiteX1" fmla="*/ 71438 w 457199"/>
                <a:gd name="connsiteY1" fmla="*/ 0 h 142875"/>
                <a:gd name="connsiteX2" fmla="*/ 0 w 457199"/>
                <a:gd name="connsiteY2" fmla="*/ 71438 h 142875"/>
                <a:gd name="connsiteX3" fmla="*/ 71438 w 457199"/>
                <a:gd name="connsiteY3" fmla="*/ 142875 h 142875"/>
                <a:gd name="connsiteX4" fmla="*/ 385762 w 457199"/>
                <a:gd name="connsiteY4" fmla="*/ 142875 h 142875"/>
                <a:gd name="connsiteX5" fmla="*/ 457200 w 457199"/>
                <a:gd name="connsiteY5" fmla="*/ 71438 h 142875"/>
                <a:gd name="connsiteX6" fmla="*/ 385762 w 457199"/>
                <a:gd name="connsiteY6" fmla="*/ 0 h 142875"/>
                <a:gd name="connsiteX7" fmla="*/ 90487 w 457199"/>
                <a:gd name="connsiteY7" fmla="*/ 100013 h 142875"/>
                <a:gd name="connsiteX8" fmla="*/ 61913 w 457199"/>
                <a:gd name="connsiteY8" fmla="*/ 71438 h 142875"/>
                <a:gd name="connsiteX9" fmla="*/ 90487 w 457199"/>
                <a:gd name="connsiteY9" fmla="*/ 42863 h 142875"/>
                <a:gd name="connsiteX10" fmla="*/ 119062 w 457199"/>
                <a:gd name="connsiteY10" fmla="*/ 71438 h 142875"/>
                <a:gd name="connsiteX11" fmla="*/ 90487 w 457199"/>
                <a:gd name="connsiteY11" fmla="*/ 100013 h 142875"/>
                <a:gd name="connsiteX12" fmla="*/ 228600 w 457199"/>
                <a:gd name="connsiteY12" fmla="*/ 100013 h 142875"/>
                <a:gd name="connsiteX13" fmla="*/ 200025 w 457199"/>
                <a:gd name="connsiteY13" fmla="*/ 71438 h 142875"/>
                <a:gd name="connsiteX14" fmla="*/ 228600 w 457199"/>
                <a:gd name="connsiteY14" fmla="*/ 42863 h 142875"/>
                <a:gd name="connsiteX15" fmla="*/ 257175 w 457199"/>
                <a:gd name="connsiteY15" fmla="*/ 71438 h 142875"/>
                <a:gd name="connsiteX16" fmla="*/ 228600 w 457199"/>
                <a:gd name="connsiteY16" fmla="*/ 100013 h 142875"/>
                <a:gd name="connsiteX17" fmla="*/ 366712 w 457199"/>
                <a:gd name="connsiteY17" fmla="*/ 100013 h 142875"/>
                <a:gd name="connsiteX18" fmla="*/ 338137 w 457199"/>
                <a:gd name="connsiteY18" fmla="*/ 71438 h 142875"/>
                <a:gd name="connsiteX19" fmla="*/ 366712 w 457199"/>
                <a:gd name="connsiteY19" fmla="*/ 42863 h 142875"/>
                <a:gd name="connsiteX20" fmla="*/ 395287 w 457199"/>
                <a:gd name="connsiteY20" fmla="*/ 71438 h 142875"/>
                <a:gd name="connsiteX21" fmla="*/ 366712 w 457199"/>
                <a:gd name="connsiteY21" fmla="*/ 10001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199" h="142875">
                  <a:moveTo>
                    <a:pt x="385762" y="0"/>
                  </a:moveTo>
                  <a:lnTo>
                    <a:pt x="71438" y="0"/>
                  </a:lnTo>
                  <a:cubicBezTo>
                    <a:pt x="31984" y="0"/>
                    <a:pt x="0" y="31984"/>
                    <a:pt x="0" y="71438"/>
                  </a:cubicBezTo>
                  <a:cubicBezTo>
                    <a:pt x="0" y="110891"/>
                    <a:pt x="31984" y="142875"/>
                    <a:pt x="71438" y="142875"/>
                  </a:cubicBezTo>
                  <a:lnTo>
                    <a:pt x="385762" y="142875"/>
                  </a:lnTo>
                  <a:cubicBezTo>
                    <a:pt x="425216" y="142875"/>
                    <a:pt x="457200" y="110891"/>
                    <a:pt x="457200" y="71438"/>
                  </a:cubicBezTo>
                  <a:cubicBezTo>
                    <a:pt x="457200" y="31984"/>
                    <a:pt x="425216" y="0"/>
                    <a:pt x="385762" y="0"/>
                  </a:cubicBezTo>
                  <a:close/>
                  <a:moveTo>
                    <a:pt x="90487" y="100013"/>
                  </a:moveTo>
                  <a:cubicBezTo>
                    <a:pt x="74706" y="100013"/>
                    <a:pt x="61913" y="87219"/>
                    <a:pt x="61913" y="71438"/>
                  </a:cubicBezTo>
                  <a:cubicBezTo>
                    <a:pt x="61913" y="55656"/>
                    <a:pt x="74706" y="42863"/>
                    <a:pt x="90487" y="42863"/>
                  </a:cubicBezTo>
                  <a:cubicBezTo>
                    <a:pt x="106269" y="42863"/>
                    <a:pt x="119062" y="55656"/>
                    <a:pt x="119062" y="71438"/>
                  </a:cubicBezTo>
                  <a:cubicBezTo>
                    <a:pt x="119062" y="87219"/>
                    <a:pt x="106269" y="100013"/>
                    <a:pt x="90487" y="100013"/>
                  </a:cubicBezTo>
                  <a:close/>
                  <a:moveTo>
                    <a:pt x="228600" y="100013"/>
                  </a:moveTo>
                  <a:cubicBezTo>
                    <a:pt x="212818" y="100013"/>
                    <a:pt x="200025" y="87219"/>
                    <a:pt x="200025" y="71438"/>
                  </a:cubicBezTo>
                  <a:cubicBezTo>
                    <a:pt x="200025" y="55656"/>
                    <a:pt x="212818" y="42863"/>
                    <a:pt x="228600" y="42863"/>
                  </a:cubicBezTo>
                  <a:cubicBezTo>
                    <a:pt x="244382" y="42863"/>
                    <a:pt x="257175" y="55656"/>
                    <a:pt x="257175" y="71438"/>
                  </a:cubicBezTo>
                  <a:cubicBezTo>
                    <a:pt x="257175" y="87219"/>
                    <a:pt x="244382" y="100013"/>
                    <a:pt x="228600" y="100013"/>
                  </a:cubicBezTo>
                  <a:close/>
                  <a:moveTo>
                    <a:pt x="366712" y="100013"/>
                  </a:moveTo>
                  <a:cubicBezTo>
                    <a:pt x="350931" y="100013"/>
                    <a:pt x="338137" y="87219"/>
                    <a:pt x="338137" y="71438"/>
                  </a:cubicBezTo>
                  <a:cubicBezTo>
                    <a:pt x="338137" y="55656"/>
                    <a:pt x="350931" y="42863"/>
                    <a:pt x="366712" y="42863"/>
                  </a:cubicBezTo>
                  <a:cubicBezTo>
                    <a:pt x="382494" y="42863"/>
                    <a:pt x="395287" y="55656"/>
                    <a:pt x="395287" y="71438"/>
                  </a:cubicBezTo>
                  <a:cubicBezTo>
                    <a:pt x="395287" y="87219"/>
                    <a:pt x="382494" y="100013"/>
                    <a:pt x="3667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CF24990-AAFE-3E6A-2CA8-EE78E5982514}"/>
                </a:ext>
              </a:extLst>
            </p:cNvPr>
            <p:cNvSpPr/>
            <p:nvPr/>
          </p:nvSpPr>
          <p:spPr>
            <a:xfrm>
              <a:off x="9912012" y="2778570"/>
              <a:ext cx="247650" cy="304940"/>
            </a:xfrm>
            <a:custGeom>
              <a:avLst/>
              <a:gdLst>
                <a:gd name="connsiteX0" fmla="*/ 205835 w 247650"/>
                <a:gd name="connsiteY0" fmla="*/ 114441 h 304940"/>
                <a:gd name="connsiteX1" fmla="*/ 142875 w 247650"/>
                <a:gd name="connsiteY1" fmla="*/ 114441 h 304940"/>
                <a:gd name="connsiteX2" fmla="*/ 142875 w 247650"/>
                <a:gd name="connsiteY2" fmla="*/ 71102 h 304940"/>
                <a:gd name="connsiteX3" fmla="*/ 156821 w 247650"/>
                <a:gd name="connsiteY3" fmla="*/ 19056 h 304940"/>
                <a:gd name="connsiteX4" fmla="*/ 104775 w 247650"/>
                <a:gd name="connsiteY4" fmla="*/ 5111 h 304940"/>
                <a:gd name="connsiteX5" fmla="*/ 90829 w 247650"/>
                <a:gd name="connsiteY5" fmla="*/ 57156 h 304940"/>
                <a:gd name="connsiteX6" fmla="*/ 104775 w 247650"/>
                <a:gd name="connsiteY6" fmla="*/ 71102 h 304940"/>
                <a:gd name="connsiteX7" fmla="*/ 104775 w 247650"/>
                <a:gd name="connsiteY7" fmla="*/ 114441 h 304940"/>
                <a:gd name="connsiteX8" fmla="*/ 41815 w 247650"/>
                <a:gd name="connsiteY8" fmla="*/ 114441 h 304940"/>
                <a:gd name="connsiteX9" fmla="*/ 0 w 247650"/>
                <a:gd name="connsiteY9" fmla="*/ 156255 h 304940"/>
                <a:gd name="connsiteX10" fmla="*/ 0 w 247650"/>
                <a:gd name="connsiteY10" fmla="*/ 263126 h 304940"/>
                <a:gd name="connsiteX11" fmla="*/ 41815 w 247650"/>
                <a:gd name="connsiteY11" fmla="*/ 304941 h 304940"/>
                <a:gd name="connsiteX12" fmla="*/ 205835 w 247650"/>
                <a:gd name="connsiteY12" fmla="*/ 304941 h 304940"/>
                <a:gd name="connsiteX13" fmla="*/ 247650 w 247650"/>
                <a:gd name="connsiteY13" fmla="*/ 263126 h 304940"/>
                <a:gd name="connsiteX14" fmla="*/ 247650 w 247650"/>
                <a:gd name="connsiteY14" fmla="*/ 156255 h 304940"/>
                <a:gd name="connsiteX15" fmla="*/ 205835 w 247650"/>
                <a:gd name="connsiteY15" fmla="*/ 114441 h 304940"/>
                <a:gd name="connsiteX16" fmla="*/ 76200 w 247650"/>
                <a:gd name="connsiteY16" fmla="*/ 238266 h 304940"/>
                <a:gd name="connsiteX17" fmla="*/ 47625 w 247650"/>
                <a:gd name="connsiteY17" fmla="*/ 209691 h 304940"/>
                <a:gd name="connsiteX18" fmla="*/ 76200 w 247650"/>
                <a:gd name="connsiteY18" fmla="*/ 181116 h 304940"/>
                <a:gd name="connsiteX19" fmla="*/ 104775 w 247650"/>
                <a:gd name="connsiteY19" fmla="*/ 209691 h 304940"/>
                <a:gd name="connsiteX20" fmla="*/ 76200 w 247650"/>
                <a:gd name="connsiteY20" fmla="*/ 238266 h 304940"/>
                <a:gd name="connsiteX21" fmla="*/ 171450 w 247650"/>
                <a:gd name="connsiteY21" fmla="*/ 238266 h 304940"/>
                <a:gd name="connsiteX22" fmla="*/ 142875 w 247650"/>
                <a:gd name="connsiteY22" fmla="*/ 209691 h 304940"/>
                <a:gd name="connsiteX23" fmla="*/ 171450 w 247650"/>
                <a:gd name="connsiteY23" fmla="*/ 181116 h 304940"/>
                <a:gd name="connsiteX24" fmla="*/ 200025 w 247650"/>
                <a:gd name="connsiteY24" fmla="*/ 209691 h 304940"/>
                <a:gd name="connsiteX25" fmla="*/ 171450 w 247650"/>
                <a:gd name="connsiteY25" fmla="*/ 238266 h 3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04940">
                  <a:moveTo>
                    <a:pt x="205835" y="114441"/>
                  </a:moveTo>
                  <a:lnTo>
                    <a:pt x="142875" y="114441"/>
                  </a:lnTo>
                  <a:lnTo>
                    <a:pt x="142875" y="71102"/>
                  </a:lnTo>
                  <a:cubicBezTo>
                    <a:pt x="161098" y="60581"/>
                    <a:pt x="167342" y="37279"/>
                    <a:pt x="156821" y="19056"/>
                  </a:cubicBezTo>
                  <a:cubicBezTo>
                    <a:pt x="146299" y="833"/>
                    <a:pt x="122998" y="-5410"/>
                    <a:pt x="104775" y="5111"/>
                  </a:cubicBezTo>
                  <a:cubicBezTo>
                    <a:pt x="86552" y="15632"/>
                    <a:pt x="80308" y="38933"/>
                    <a:pt x="90829" y="57156"/>
                  </a:cubicBezTo>
                  <a:cubicBezTo>
                    <a:pt x="94174" y="62949"/>
                    <a:pt x="98983" y="67758"/>
                    <a:pt x="104775" y="71102"/>
                  </a:cubicBezTo>
                  <a:lnTo>
                    <a:pt x="104775" y="114441"/>
                  </a:lnTo>
                  <a:lnTo>
                    <a:pt x="41815" y="114441"/>
                  </a:lnTo>
                  <a:cubicBezTo>
                    <a:pt x="18743" y="114493"/>
                    <a:pt x="52" y="133184"/>
                    <a:pt x="0" y="156255"/>
                  </a:cubicBezTo>
                  <a:lnTo>
                    <a:pt x="0" y="263126"/>
                  </a:lnTo>
                  <a:cubicBezTo>
                    <a:pt x="52" y="286197"/>
                    <a:pt x="18743" y="304888"/>
                    <a:pt x="41815" y="304941"/>
                  </a:cubicBezTo>
                  <a:lnTo>
                    <a:pt x="205835" y="304941"/>
                  </a:lnTo>
                  <a:cubicBezTo>
                    <a:pt x="228907" y="304888"/>
                    <a:pt x="247598" y="286197"/>
                    <a:pt x="247650" y="263126"/>
                  </a:cubicBezTo>
                  <a:lnTo>
                    <a:pt x="247650" y="156255"/>
                  </a:lnTo>
                  <a:cubicBezTo>
                    <a:pt x="247598" y="133184"/>
                    <a:pt x="228907" y="114493"/>
                    <a:pt x="205835" y="114441"/>
                  </a:cubicBezTo>
                  <a:close/>
                  <a:moveTo>
                    <a:pt x="76200" y="238266"/>
                  </a:moveTo>
                  <a:cubicBezTo>
                    <a:pt x="60418" y="238266"/>
                    <a:pt x="47625" y="225473"/>
                    <a:pt x="47625" y="209691"/>
                  </a:cubicBezTo>
                  <a:cubicBezTo>
                    <a:pt x="47625" y="193909"/>
                    <a:pt x="60418" y="181116"/>
                    <a:pt x="76200" y="181116"/>
                  </a:cubicBezTo>
                  <a:cubicBezTo>
                    <a:pt x="91982" y="181116"/>
                    <a:pt x="104775" y="193909"/>
                    <a:pt x="104775" y="209691"/>
                  </a:cubicBezTo>
                  <a:cubicBezTo>
                    <a:pt x="104775" y="225473"/>
                    <a:pt x="91982" y="238266"/>
                    <a:pt x="76200" y="238266"/>
                  </a:cubicBezTo>
                  <a:close/>
                  <a:moveTo>
                    <a:pt x="171450" y="238266"/>
                  </a:moveTo>
                  <a:cubicBezTo>
                    <a:pt x="155668" y="238266"/>
                    <a:pt x="142875" y="225473"/>
                    <a:pt x="142875" y="209691"/>
                  </a:cubicBezTo>
                  <a:cubicBezTo>
                    <a:pt x="142875" y="193909"/>
                    <a:pt x="155668" y="181116"/>
                    <a:pt x="171450" y="181116"/>
                  </a:cubicBezTo>
                  <a:cubicBezTo>
                    <a:pt x="187232" y="181116"/>
                    <a:pt x="200025" y="193909"/>
                    <a:pt x="200025" y="209691"/>
                  </a:cubicBezTo>
                  <a:cubicBezTo>
                    <a:pt x="200025" y="225473"/>
                    <a:pt x="187232" y="238266"/>
                    <a:pt x="171450" y="2382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F3B7E00-1D5B-8072-065C-1F7EC14EA13B}"/>
                </a:ext>
              </a:extLst>
            </p:cNvPr>
            <p:cNvSpPr/>
            <p:nvPr/>
          </p:nvSpPr>
          <p:spPr>
            <a:xfrm>
              <a:off x="9728015" y="2985117"/>
              <a:ext cx="598287" cy="396716"/>
            </a:xfrm>
            <a:custGeom>
              <a:avLst/>
              <a:gdLst>
                <a:gd name="connsiteX0" fmla="*/ 555471 w 598287"/>
                <a:gd name="connsiteY0" fmla="*/ 296704 h 396716"/>
                <a:gd name="connsiteX1" fmla="*/ 555471 w 598287"/>
                <a:gd name="connsiteY1" fmla="*/ 217361 h 396716"/>
                <a:gd name="connsiteX2" fmla="*/ 512704 w 598287"/>
                <a:gd name="connsiteY2" fmla="*/ 174593 h 396716"/>
                <a:gd name="connsiteX3" fmla="*/ 460221 w 598287"/>
                <a:gd name="connsiteY3" fmla="*/ 174593 h 396716"/>
                <a:gd name="connsiteX4" fmla="*/ 460221 w 598287"/>
                <a:gd name="connsiteY4" fmla="*/ 126968 h 396716"/>
                <a:gd name="connsiteX5" fmla="*/ 155421 w 598287"/>
                <a:gd name="connsiteY5" fmla="*/ 126968 h 396716"/>
                <a:gd name="connsiteX6" fmla="*/ 155421 w 598287"/>
                <a:gd name="connsiteY6" fmla="*/ 184118 h 396716"/>
                <a:gd name="connsiteX7" fmla="*/ 83889 w 598287"/>
                <a:gd name="connsiteY7" fmla="*/ 184118 h 396716"/>
                <a:gd name="connsiteX8" fmla="*/ 79221 w 598287"/>
                <a:gd name="connsiteY8" fmla="*/ 179451 h 396716"/>
                <a:gd name="connsiteX9" fmla="*/ 79221 w 598287"/>
                <a:gd name="connsiteY9" fmla="*/ 100489 h 396716"/>
                <a:gd name="connsiteX10" fmla="*/ 120999 w 598287"/>
                <a:gd name="connsiteY10" fmla="*/ 23694 h 396716"/>
                <a:gd name="connsiteX11" fmla="*/ 107796 w 598287"/>
                <a:gd name="connsiteY11" fmla="*/ 0 h 396716"/>
                <a:gd name="connsiteX12" fmla="*/ 79221 w 598287"/>
                <a:gd name="connsiteY12" fmla="*/ 25336 h 396716"/>
                <a:gd name="connsiteX13" fmla="*/ 85603 w 598287"/>
                <a:gd name="connsiteY13" fmla="*/ 41243 h 396716"/>
                <a:gd name="connsiteX14" fmla="*/ 61661 w 598287"/>
                <a:gd name="connsiteY14" fmla="*/ 64926 h 396716"/>
                <a:gd name="connsiteX15" fmla="*/ 37979 w 598287"/>
                <a:gd name="connsiteY15" fmla="*/ 40984 h 396716"/>
                <a:gd name="connsiteX16" fmla="*/ 43788 w 598287"/>
                <a:gd name="connsiteY16" fmla="*/ 25527 h 396716"/>
                <a:gd name="connsiteX17" fmla="*/ 15213 w 598287"/>
                <a:gd name="connsiteY17" fmla="*/ 476 h 396716"/>
                <a:gd name="connsiteX18" fmla="*/ 21266 w 598287"/>
                <a:gd name="connsiteY18" fmla="*/ 87824 h 396716"/>
                <a:gd name="connsiteX19" fmla="*/ 41121 w 598287"/>
                <a:gd name="connsiteY19" fmla="*/ 99441 h 396716"/>
                <a:gd name="connsiteX20" fmla="*/ 41121 w 598287"/>
                <a:gd name="connsiteY20" fmla="*/ 179451 h 396716"/>
                <a:gd name="connsiteX21" fmla="*/ 83889 w 598287"/>
                <a:gd name="connsiteY21" fmla="*/ 222218 h 396716"/>
                <a:gd name="connsiteX22" fmla="*/ 155421 w 598287"/>
                <a:gd name="connsiteY22" fmla="*/ 222218 h 396716"/>
                <a:gd name="connsiteX23" fmla="*/ 155421 w 598287"/>
                <a:gd name="connsiteY23" fmla="*/ 393668 h 396716"/>
                <a:gd name="connsiteX24" fmla="*/ 460221 w 598287"/>
                <a:gd name="connsiteY24" fmla="*/ 393668 h 396716"/>
                <a:gd name="connsiteX25" fmla="*/ 460221 w 598287"/>
                <a:gd name="connsiteY25" fmla="*/ 212693 h 396716"/>
                <a:gd name="connsiteX26" fmla="*/ 512704 w 598287"/>
                <a:gd name="connsiteY26" fmla="*/ 212693 h 396716"/>
                <a:gd name="connsiteX27" fmla="*/ 517371 w 598287"/>
                <a:gd name="connsiteY27" fmla="*/ 217361 h 396716"/>
                <a:gd name="connsiteX28" fmla="*/ 517371 w 598287"/>
                <a:gd name="connsiteY28" fmla="*/ 296704 h 396716"/>
                <a:gd name="connsiteX29" fmla="*/ 477521 w 598287"/>
                <a:gd name="connsiteY29" fmla="*/ 374667 h 396716"/>
                <a:gd name="connsiteX30" fmla="*/ 490130 w 598287"/>
                <a:gd name="connsiteY30" fmla="*/ 396716 h 396716"/>
                <a:gd name="connsiteX31" fmla="*/ 518705 w 598287"/>
                <a:gd name="connsiteY31" fmla="*/ 371380 h 396716"/>
                <a:gd name="connsiteX32" fmla="*/ 512609 w 598287"/>
                <a:gd name="connsiteY32" fmla="*/ 355568 h 396716"/>
                <a:gd name="connsiteX33" fmla="*/ 536441 w 598287"/>
                <a:gd name="connsiteY33" fmla="*/ 331776 h 396716"/>
                <a:gd name="connsiteX34" fmla="*/ 560234 w 598287"/>
                <a:gd name="connsiteY34" fmla="*/ 355608 h 396716"/>
                <a:gd name="connsiteX35" fmla="*/ 554328 w 598287"/>
                <a:gd name="connsiteY35" fmla="*/ 371285 h 396716"/>
                <a:gd name="connsiteX36" fmla="*/ 582903 w 598287"/>
                <a:gd name="connsiteY36" fmla="*/ 396335 h 396716"/>
                <a:gd name="connsiteX37" fmla="*/ 577276 w 598287"/>
                <a:gd name="connsiteY37" fmla="*/ 309094 h 396716"/>
                <a:gd name="connsiteX38" fmla="*/ 555471 w 598287"/>
                <a:gd name="connsiteY38" fmla="*/ 296704 h 396716"/>
                <a:gd name="connsiteX39" fmla="*/ 422121 w 598287"/>
                <a:gd name="connsiteY39" fmla="*/ 260318 h 396716"/>
                <a:gd name="connsiteX40" fmla="*/ 395642 w 598287"/>
                <a:gd name="connsiteY40" fmla="*/ 260318 h 396716"/>
                <a:gd name="connsiteX41" fmla="*/ 393070 w 598287"/>
                <a:gd name="connsiteY41" fmla="*/ 261366 h 396716"/>
                <a:gd name="connsiteX42" fmla="*/ 363924 w 598287"/>
                <a:gd name="connsiteY42" fmla="*/ 291179 h 396716"/>
                <a:gd name="connsiteX43" fmla="*/ 341730 w 598287"/>
                <a:gd name="connsiteY43" fmla="*/ 238601 h 396716"/>
                <a:gd name="connsiteX44" fmla="*/ 300297 w 598287"/>
                <a:gd name="connsiteY44" fmla="*/ 324326 h 396716"/>
                <a:gd name="connsiteX45" fmla="*/ 271245 w 598287"/>
                <a:gd name="connsiteY45" fmla="*/ 212693 h 396716"/>
                <a:gd name="connsiteX46" fmla="*/ 248862 w 598287"/>
                <a:gd name="connsiteY46" fmla="*/ 260318 h 396716"/>
                <a:gd name="connsiteX47" fmla="*/ 203046 w 598287"/>
                <a:gd name="connsiteY47" fmla="*/ 260318 h 396716"/>
                <a:gd name="connsiteX48" fmla="*/ 203046 w 598287"/>
                <a:gd name="connsiteY48" fmla="*/ 241268 h 396716"/>
                <a:gd name="connsiteX49" fmla="*/ 236765 w 598287"/>
                <a:gd name="connsiteY49" fmla="*/ 241268 h 396716"/>
                <a:gd name="connsiteX50" fmla="*/ 276389 w 598287"/>
                <a:gd name="connsiteY50" fmla="*/ 156972 h 396716"/>
                <a:gd name="connsiteX51" fmla="*/ 305726 w 598287"/>
                <a:gd name="connsiteY51" fmla="*/ 269177 h 396716"/>
                <a:gd name="connsiteX52" fmla="*/ 342969 w 598287"/>
                <a:gd name="connsiteY52" fmla="*/ 192977 h 396716"/>
                <a:gd name="connsiteX53" fmla="*/ 370401 w 598287"/>
                <a:gd name="connsiteY53" fmla="*/ 257937 h 396716"/>
                <a:gd name="connsiteX54" fmla="*/ 379926 w 598287"/>
                <a:gd name="connsiteY54" fmla="*/ 248412 h 396716"/>
                <a:gd name="connsiteX55" fmla="*/ 395642 w 598287"/>
                <a:gd name="connsiteY55" fmla="*/ 241268 h 396716"/>
                <a:gd name="connsiteX56" fmla="*/ 422121 w 598287"/>
                <a:gd name="connsiteY56" fmla="*/ 241268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98287" h="396716">
                  <a:moveTo>
                    <a:pt x="555471" y="296704"/>
                  </a:moveTo>
                  <a:lnTo>
                    <a:pt x="555471" y="217361"/>
                  </a:lnTo>
                  <a:cubicBezTo>
                    <a:pt x="555471" y="193740"/>
                    <a:pt x="536324" y="174593"/>
                    <a:pt x="512704" y="174593"/>
                  </a:cubicBezTo>
                  <a:lnTo>
                    <a:pt x="460221" y="174593"/>
                  </a:lnTo>
                  <a:lnTo>
                    <a:pt x="460221" y="126968"/>
                  </a:lnTo>
                  <a:lnTo>
                    <a:pt x="155421" y="126968"/>
                  </a:lnTo>
                  <a:lnTo>
                    <a:pt x="155421" y="184118"/>
                  </a:lnTo>
                  <a:lnTo>
                    <a:pt x="83889" y="184118"/>
                  </a:lnTo>
                  <a:cubicBezTo>
                    <a:pt x="81311" y="184118"/>
                    <a:pt x="79221" y="182028"/>
                    <a:pt x="79221" y="179451"/>
                  </a:cubicBezTo>
                  <a:lnTo>
                    <a:pt x="79221" y="100489"/>
                  </a:lnTo>
                  <a:cubicBezTo>
                    <a:pt x="111965" y="90819"/>
                    <a:pt x="130669" y="56437"/>
                    <a:pt x="120999" y="23694"/>
                  </a:cubicBezTo>
                  <a:cubicBezTo>
                    <a:pt x="118406" y="14916"/>
                    <a:pt x="113897" y="6824"/>
                    <a:pt x="107796" y="0"/>
                  </a:cubicBezTo>
                  <a:lnTo>
                    <a:pt x="79221" y="25336"/>
                  </a:lnTo>
                  <a:cubicBezTo>
                    <a:pt x="83218" y="29683"/>
                    <a:pt x="85488" y="35340"/>
                    <a:pt x="85603" y="41243"/>
                  </a:cubicBezTo>
                  <a:cubicBezTo>
                    <a:pt x="85532" y="54394"/>
                    <a:pt x="74812" y="64998"/>
                    <a:pt x="61661" y="64926"/>
                  </a:cubicBezTo>
                  <a:cubicBezTo>
                    <a:pt x="48510" y="64854"/>
                    <a:pt x="37908" y="54135"/>
                    <a:pt x="37979" y="40984"/>
                  </a:cubicBezTo>
                  <a:cubicBezTo>
                    <a:pt x="38010" y="35303"/>
                    <a:pt x="40070" y="29822"/>
                    <a:pt x="43788" y="25527"/>
                  </a:cubicBezTo>
                  <a:lnTo>
                    <a:pt x="15213" y="476"/>
                  </a:lnTo>
                  <a:cubicBezTo>
                    <a:pt x="-7236" y="26268"/>
                    <a:pt x="-4526" y="65375"/>
                    <a:pt x="21266" y="87824"/>
                  </a:cubicBezTo>
                  <a:cubicBezTo>
                    <a:pt x="27101" y="92903"/>
                    <a:pt x="33835" y="96844"/>
                    <a:pt x="41121" y="99441"/>
                  </a:cubicBezTo>
                  <a:lnTo>
                    <a:pt x="41121" y="179451"/>
                  </a:lnTo>
                  <a:cubicBezTo>
                    <a:pt x="41121" y="203071"/>
                    <a:pt x="60269" y="222218"/>
                    <a:pt x="83889" y="222218"/>
                  </a:cubicBezTo>
                  <a:lnTo>
                    <a:pt x="155421" y="222218"/>
                  </a:lnTo>
                  <a:lnTo>
                    <a:pt x="155421" y="393668"/>
                  </a:lnTo>
                  <a:lnTo>
                    <a:pt x="460221" y="393668"/>
                  </a:lnTo>
                  <a:lnTo>
                    <a:pt x="460221" y="212693"/>
                  </a:lnTo>
                  <a:lnTo>
                    <a:pt x="512704" y="212693"/>
                  </a:lnTo>
                  <a:cubicBezTo>
                    <a:pt x="515282" y="212693"/>
                    <a:pt x="517371" y="214783"/>
                    <a:pt x="517371" y="217361"/>
                  </a:cubicBezTo>
                  <a:lnTo>
                    <a:pt x="517371" y="296704"/>
                  </a:lnTo>
                  <a:cubicBezTo>
                    <a:pt x="484838" y="307228"/>
                    <a:pt x="466997" y="342133"/>
                    <a:pt x="477521" y="374667"/>
                  </a:cubicBezTo>
                  <a:cubicBezTo>
                    <a:pt x="480155" y="382809"/>
                    <a:pt x="484448" y="390316"/>
                    <a:pt x="490130" y="396716"/>
                  </a:cubicBezTo>
                  <a:lnTo>
                    <a:pt x="518705" y="371380"/>
                  </a:lnTo>
                  <a:cubicBezTo>
                    <a:pt x="514763" y="367059"/>
                    <a:pt x="512588" y="361417"/>
                    <a:pt x="512609" y="355568"/>
                  </a:cubicBezTo>
                  <a:cubicBezTo>
                    <a:pt x="512620" y="342417"/>
                    <a:pt x="523290" y="331764"/>
                    <a:pt x="536441" y="331776"/>
                  </a:cubicBezTo>
                  <a:cubicBezTo>
                    <a:pt x="549593" y="331787"/>
                    <a:pt x="560245" y="342457"/>
                    <a:pt x="560234" y="355608"/>
                  </a:cubicBezTo>
                  <a:cubicBezTo>
                    <a:pt x="560229" y="361377"/>
                    <a:pt x="558131" y="366947"/>
                    <a:pt x="554328" y="371285"/>
                  </a:cubicBezTo>
                  <a:lnTo>
                    <a:pt x="582903" y="396335"/>
                  </a:lnTo>
                  <a:cubicBezTo>
                    <a:pt x="605441" y="370690"/>
                    <a:pt x="602921" y="331631"/>
                    <a:pt x="577276" y="309094"/>
                  </a:cubicBezTo>
                  <a:cubicBezTo>
                    <a:pt x="570931" y="303517"/>
                    <a:pt x="563510" y="299300"/>
                    <a:pt x="555471" y="296704"/>
                  </a:cubicBezTo>
                  <a:close/>
                  <a:moveTo>
                    <a:pt x="422121" y="260318"/>
                  </a:moveTo>
                  <a:lnTo>
                    <a:pt x="395642" y="260318"/>
                  </a:lnTo>
                  <a:cubicBezTo>
                    <a:pt x="394721" y="260483"/>
                    <a:pt x="393845" y="260840"/>
                    <a:pt x="393070" y="261366"/>
                  </a:cubicBezTo>
                  <a:lnTo>
                    <a:pt x="363924" y="291179"/>
                  </a:lnTo>
                  <a:lnTo>
                    <a:pt x="341730" y="238601"/>
                  </a:lnTo>
                  <a:lnTo>
                    <a:pt x="300297" y="324326"/>
                  </a:lnTo>
                  <a:lnTo>
                    <a:pt x="271245" y="212693"/>
                  </a:lnTo>
                  <a:lnTo>
                    <a:pt x="248862" y="260318"/>
                  </a:lnTo>
                  <a:lnTo>
                    <a:pt x="203046" y="260318"/>
                  </a:lnTo>
                  <a:lnTo>
                    <a:pt x="203046" y="241268"/>
                  </a:lnTo>
                  <a:lnTo>
                    <a:pt x="236765" y="241268"/>
                  </a:lnTo>
                  <a:lnTo>
                    <a:pt x="276389" y="156972"/>
                  </a:lnTo>
                  <a:lnTo>
                    <a:pt x="305726" y="269177"/>
                  </a:lnTo>
                  <a:lnTo>
                    <a:pt x="342969" y="192977"/>
                  </a:lnTo>
                  <a:lnTo>
                    <a:pt x="370401" y="257937"/>
                  </a:lnTo>
                  <a:lnTo>
                    <a:pt x="379926" y="248412"/>
                  </a:lnTo>
                  <a:cubicBezTo>
                    <a:pt x="384108" y="244179"/>
                    <a:pt x="389703" y="241636"/>
                    <a:pt x="395642" y="241268"/>
                  </a:cubicBezTo>
                  <a:lnTo>
                    <a:pt x="422121" y="2412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218CCDAA-63DD-3024-311A-D7D87DA2ED66}"/>
              </a:ext>
              <a:ext uri="{C183D7F6-B498-43B3-948B-1728B52AA6E4}">
                <adec:decorative xmlns:adec="http://schemas.microsoft.com/office/drawing/2017/decorative" val="1"/>
              </a:ext>
            </a:extLst>
          </p:cNvPr>
          <p:cNvGrpSpPr/>
          <p:nvPr/>
        </p:nvGrpSpPr>
        <p:grpSpPr>
          <a:xfrm>
            <a:off x="3183679" y="1511739"/>
            <a:ext cx="382692" cy="505974"/>
            <a:chOff x="3318272" y="1003300"/>
            <a:chExt cx="496222" cy="65607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69" name="Freeform: Shape 68">
              <a:extLst>
                <a:ext uri="{FF2B5EF4-FFF2-40B4-BE49-F238E27FC236}">
                  <a16:creationId xmlns:a16="http://schemas.microsoft.com/office/drawing/2014/main" id="{C728CD58-02E3-5EDB-147D-C64817D5521C}"/>
                </a:ext>
              </a:extLst>
            </p:cNvPr>
            <p:cNvSpPr/>
            <p:nvPr/>
          </p:nvSpPr>
          <p:spPr>
            <a:xfrm>
              <a:off x="3318272" y="1313769"/>
              <a:ext cx="496222" cy="345607"/>
            </a:xfrm>
            <a:custGeom>
              <a:avLst/>
              <a:gdLst>
                <a:gd name="connsiteX0" fmla="*/ 362764 w 496222"/>
                <a:gd name="connsiteY0" fmla="*/ 165 h 345607"/>
                <a:gd name="connsiteX1" fmla="*/ 362764 w 496222"/>
                <a:gd name="connsiteY1" fmla="*/ 165 h 345607"/>
                <a:gd name="connsiteX2" fmla="*/ 252236 w 496222"/>
                <a:gd name="connsiteY2" fmla="*/ 72421 h 345607"/>
                <a:gd name="connsiteX3" fmla="*/ 143192 w 496222"/>
                <a:gd name="connsiteY3" fmla="*/ 1320 h 345607"/>
                <a:gd name="connsiteX4" fmla="*/ 142367 w 496222"/>
                <a:gd name="connsiteY4" fmla="*/ 165 h 345607"/>
                <a:gd name="connsiteX5" fmla="*/ 141047 w 496222"/>
                <a:gd name="connsiteY5" fmla="*/ 990 h 345607"/>
                <a:gd name="connsiteX6" fmla="*/ 0 w 496222"/>
                <a:gd name="connsiteY6" fmla="*/ 270217 h 345607"/>
                <a:gd name="connsiteX7" fmla="*/ 0 w 496222"/>
                <a:gd name="connsiteY7" fmla="*/ 275331 h 345607"/>
                <a:gd name="connsiteX8" fmla="*/ 825 w 496222"/>
                <a:gd name="connsiteY8" fmla="*/ 271537 h 345607"/>
                <a:gd name="connsiteX9" fmla="*/ 255370 w 496222"/>
                <a:gd name="connsiteY9" fmla="*/ 345607 h 345607"/>
                <a:gd name="connsiteX10" fmla="*/ 495398 w 496222"/>
                <a:gd name="connsiteY10" fmla="*/ 280445 h 345607"/>
                <a:gd name="connsiteX11" fmla="*/ 496223 w 496222"/>
                <a:gd name="connsiteY11" fmla="*/ 279950 h 345607"/>
                <a:gd name="connsiteX12" fmla="*/ 496223 w 496222"/>
                <a:gd name="connsiteY12" fmla="*/ 278960 h 345607"/>
                <a:gd name="connsiteX13" fmla="*/ 362764 w 496222"/>
                <a:gd name="connsiteY13" fmla="*/ 0 h 34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222" h="345607">
                  <a:moveTo>
                    <a:pt x="362764" y="165"/>
                  </a:moveTo>
                  <a:lnTo>
                    <a:pt x="362764" y="165"/>
                  </a:lnTo>
                  <a:cubicBezTo>
                    <a:pt x="352866" y="11218"/>
                    <a:pt x="303046" y="72421"/>
                    <a:pt x="252236" y="72421"/>
                  </a:cubicBezTo>
                  <a:cubicBezTo>
                    <a:pt x="201426" y="72421"/>
                    <a:pt x="152760" y="13197"/>
                    <a:pt x="143192" y="1320"/>
                  </a:cubicBezTo>
                  <a:lnTo>
                    <a:pt x="142367" y="165"/>
                  </a:lnTo>
                  <a:lnTo>
                    <a:pt x="141047" y="990"/>
                  </a:lnTo>
                  <a:cubicBezTo>
                    <a:pt x="59223" y="57079"/>
                    <a:pt x="5279" y="140388"/>
                    <a:pt x="0" y="270217"/>
                  </a:cubicBezTo>
                  <a:lnTo>
                    <a:pt x="0" y="275331"/>
                  </a:lnTo>
                  <a:lnTo>
                    <a:pt x="825" y="271537"/>
                  </a:lnTo>
                  <a:cubicBezTo>
                    <a:pt x="77205" y="319872"/>
                    <a:pt x="165133" y="345607"/>
                    <a:pt x="255370" y="345607"/>
                  </a:cubicBezTo>
                  <a:cubicBezTo>
                    <a:pt x="339668" y="345607"/>
                    <a:pt x="422647" y="323172"/>
                    <a:pt x="495398" y="280445"/>
                  </a:cubicBezTo>
                  <a:lnTo>
                    <a:pt x="496223" y="279950"/>
                  </a:lnTo>
                  <a:lnTo>
                    <a:pt x="496223" y="278960"/>
                  </a:lnTo>
                  <a:cubicBezTo>
                    <a:pt x="493253" y="151440"/>
                    <a:pt x="441289" y="59883"/>
                    <a:pt x="362764" y="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5C1945-C432-D0EC-EA52-BE0780C03C6C}"/>
                </a:ext>
              </a:extLst>
            </p:cNvPr>
            <p:cNvSpPr/>
            <p:nvPr/>
          </p:nvSpPr>
          <p:spPr>
            <a:xfrm>
              <a:off x="3393472" y="1003300"/>
              <a:ext cx="353918" cy="340823"/>
            </a:xfrm>
            <a:custGeom>
              <a:avLst/>
              <a:gdLst>
                <a:gd name="connsiteX0" fmla="*/ 70961 w 353918"/>
                <a:gd name="connsiteY0" fmla="*/ 277971 h 340823"/>
                <a:gd name="connsiteX1" fmla="*/ 70961 w 353918"/>
                <a:gd name="connsiteY1" fmla="*/ 277971 h 340823"/>
                <a:gd name="connsiteX2" fmla="*/ 77889 w 353918"/>
                <a:gd name="connsiteY2" fmla="*/ 284734 h 340823"/>
                <a:gd name="connsiteX3" fmla="*/ 176870 w 353918"/>
                <a:gd name="connsiteY3" fmla="*/ 340823 h 340823"/>
                <a:gd name="connsiteX4" fmla="*/ 264963 w 353918"/>
                <a:gd name="connsiteY4" fmla="*/ 293808 h 340823"/>
                <a:gd name="connsiteX5" fmla="*/ 282944 w 353918"/>
                <a:gd name="connsiteY5" fmla="*/ 277971 h 340823"/>
                <a:gd name="connsiteX6" fmla="*/ 282944 w 353918"/>
                <a:gd name="connsiteY6" fmla="*/ 277971 h 340823"/>
                <a:gd name="connsiteX7" fmla="*/ 334084 w 353918"/>
                <a:gd name="connsiteY7" fmla="*/ 315913 h 340823"/>
                <a:gd name="connsiteX8" fmla="*/ 177035 w 353918"/>
                <a:gd name="connsiteY8" fmla="*/ 0 h 340823"/>
                <a:gd name="connsiteX9" fmla="*/ 177035 w 353918"/>
                <a:gd name="connsiteY9" fmla="*/ 0 h 340823"/>
                <a:gd name="connsiteX10" fmla="*/ 19821 w 353918"/>
                <a:gd name="connsiteY10" fmla="*/ 315913 h 340823"/>
                <a:gd name="connsiteX11" fmla="*/ 70961 w 353918"/>
                <a:gd name="connsiteY11" fmla="*/ 278136 h 340823"/>
                <a:gd name="connsiteX12" fmla="*/ 177035 w 353918"/>
                <a:gd name="connsiteY12" fmla="*/ 52790 h 340823"/>
                <a:gd name="connsiteX13" fmla="*/ 177035 w 353918"/>
                <a:gd name="connsiteY13" fmla="*/ 52790 h 340823"/>
                <a:gd name="connsiteX14" fmla="*/ 299936 w 353918"/>
                <a:gd name="connsiteY14" fmla="*/ 182124 h 340823"/>
                <a:gd name="connsiteX15" fmla="*/ 250610 w 353918"/>
                <a:gd name="connsiteY15" fmla="*/ 274506 h 340823"/>
                <a:gd name="connsiteX16" fmla="*/ 177035 w 353918"/>
                <a:gd name="connsiteY16" fmla="*/ 311624 h 340823"/>
                <a:gd name="connsiteX17" fmla="*/ 94221 w 353918"/>
                <a:gd name="connsiteY17" fmla="*/ 266918 h 340823"/>
                <a:gd name="connsiteX18" fmla="*/ 63372 w 353918"/>
                <a:gd name="connsiteY18" fmla="*/ 222871 h 340823"/>
                <a:gd name="connsiteX19" fmla="*/ 144701 w 353918"/>
                <a:gd name="connsiteY19" fmla="*/ 267083 h 340823"/>
                <a:gd name="connsiteX20" fmla="*/ 169941 w 353918"/>
                <a:gd name="connsiteY20" fmla="*/ 289353 h 340823"/>
                <a:gd name="connsiteX21" fmla="*/ 195511 w 353918"/>
                <a:gd name="connsiteY21" fmla="*/ 263783 h 340823"/>
                <a:gd name="connsiteX22" fmla="*/ 169941 w 353918"/>
                <a:gd name="connsiteY22" fmla="*/ 238213 h 340823"/>
                <a:gd name="connsiteX23" fmla="*/ 147176 w 353918"/>
                <a:gd name="connsiteY23" fmla="*/ 252236 h 340823"/>
                <a:gd name="connsiteX24" fmla="*/ 54959 w 353918"/>
                <a:gd name="connsiteY24" fmla="*/ 190208 h 340823"/>
                <a:gd name="connsiteX25" fmla="*/ 54134 w 353918"/>
                <a:gd name="connsiteY25" fmla="*/ 181794 h 340823"/>
                <a:gd name="connsiteX26" fmla="*/ 177035 w 353918"/>
                <a:gd name="connsiteY26" fmla="*/ 52460 h 34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18" h="340823">
                  <a:moveTo>
                    <a:pt x="70961" y="277971"/>
                  </a:moveTo>
                  <a:lnTo>
                    <a:pt x="70961" y="277971"/>
                  </a:lnTo>
                  <a:cubicBezTo>
                    <a:pt x="73270" y="280280"/>
                    <a:pt x="75580" y="282590"/>
                    <a:pt x="77889" y="284734"/>
                  </a:cubicBezTo>
                  <a:cubicBezTo>
                    <a:pt x="104119" y="308490"/>
                    <a:pt x="138927" y="340823"/>
                    <a:pt x="176870" y="340823"/>
                  </a:cubicBezTo>
                  <a:cubicBezTo>
                    <a:pt x="209863" y="340823"/>
                    <a:pt x="240382" y="312119"/>
                    <a:pt x="264963" y="293808"/>
                  </a:cubicBezTo>
                  <a:cubicBezTo>
                    <a:pt x="271396" y="289024"/>
                    <a:pt x="277335" y="283745"/>
                    <a:pt x="282944" y="277971"/>
                  </a:cubicBezTo>
                  <a:lnTo>
                    <a:pt x="282944" y="277971"/>
                  </a:lnTo>
                  <a:cubicBezTo>
                    <a:pt x="282944" y="277971"/>
                    <a:pt x="298946" y="280940"/>
                    <a:pt x="334084" y="315913"/>
                  </a:cubicBezTo>
                  <a:cubicBezTo>
                    <a:pt x="334084" y="315913"/>
                    <a:pt x="436199" y="0"/>
                    <a:pt x="177035" y="0"/>
                  </a:cubicBezTo>
                  <a:lnTo>
                    <a:pt x="177035" y="0"/>
                  </a:lnTo>
                  <a:cubicBezTo>
                    <a:pt x="-82294" y="0"/>
                    <a:pt x="19821" y="315913"/>
                    <a:pt x="19821" y="315913"/>
                  </a:cubicBezTo>
                  <a:cubicBezTo>
                    <a:pt x="54794" y="280940"/>
                    <a:pt x="70961" y="278136"/>
                    <a:pt x="70961" y="278136"/>
                  </a:cubicBezTo>
                  <a:close/>
                  <a:moveTo>
                    <a:pt x="177035" y="52790"/>
                  </a:moveTo>
                  <a:lnTo>
                    <a:pt x="177035" y="52790"/>
                  </a:lnTo>
                  <a:cubicBezTo>
                    <a:pt x="177035" y="52790"/>
                    <a:pt x="204914" y="168597"/>
                    <a:pt x="299936" y="182124"/>
                  </a:cubicBezTo>
                  <a:cubicBezTo>
                    <a:pt x="297956" y="219902"/>
                    <a:pt x="279150" y="253226"/>
                    <a:pt x="250610" y="274506"/>
                  </a:cubicBezTo>
                  <a:cubicBezTo>
                    <a:pt x="229989" y="289848"/>
                    <a:pt x="204584" y="311624"/>
                    <a:pt x="177035" y="311624"/>
                  </a:cubicBezTo>
                  <a:cubicBezTo>
                    <a:pt x="145196" y="311624"/>
                    <a:pt x="116162" y="286879"/>
                    <a:pt x="94221" y="266918"/>
                  </a:cubicBezTo>
                  <a:cubicBezTo>
                    <a:pt x="81024" y="254710"/>
                    <a:pt x="70301" y="239863"/>
                    <a:pt x="63372" y="222871"/>
                  </a:cubicBezTo>
                  <a:cubicBezTo>
                    <a:pt x="82013" y="241348"/>
                    <a:pt x="109563" y="261474"/>
                    <a:pt x="144701" y="267083"/>
                  </a:cubicBezTo>
                  <a:cubicBezTo>
                    <a:pt x="146351" y="279620"/>
                    <a:pt x="157074" y="289353"/>
                    <a:pt x="169941" y="289353"/>
                  </a:cubicBezTo>
                  <a:cubicBezTo>
                    <a:pt x="184128" y="289353"/>
                    <a:pt x="195511" y="277971"/>
                    <a:pt x="195511" y="263783"/>
                  </a:cubicBezTo>
                  <a:cubicBezTo>
                    <a:pt x="195511" y="249596"/>
                    <a:pt x="184128" y="238213"/>
                    <a:pt x="169941" y="238213"/>
                  </a:cubicBezTo>
                  <a:cubicBezTo>
                    <a:pt x="160043" y="238213"/>
                    <a:pt x="151300" y="243987"/>
                    <a:pt x="147176" y="252236"/>
                  </a:cubicBezTo>
                  <a:cubicBezTo>
                    <a:pt x="101150" y="244647"/>
                    <a:pt x="68321" y="208024"/>
                    <a:pt x="54959" y="190208"/>
                  </a:cubicBezTo>
                  <a:cubicBezTo>
                    <a:pt x="54629" y="187403"/>
                    <a:pt x="54299" y="184599"/>
                    <a:pt x="54134" y="181794"/>
                  </a:cubicBezTo>
                  <a:cubicBezTo>
                    <a:pt x="149320" y="168267"/>
                    <a:pt x="177035" y="52460"/>
                    <a:pt x="177035" y="5246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2" name="Graphic 4">
            <a:extLst>
              <a:ext uri="{FF2B5EF4-FFF2-40B4-BE49-F238E27FC236}">
                <a16:creationId xmlns:a16="http://schemas.microsoft.com/office/drawing/2014/main" id="{DED1C6F3-D722-0795-DC99-1FFC30BF4CEF}"/>
              </a:ext>
              <a:ext uri="{C183D7F6-B498-43B3-948B-1728B52AA6E4}">
                <adec:decorative xmlns:adec="http://schemas.microsoft.com/office/drawing/2017/decorative" val="1"/>
              </a:ext>
            </a:extLst>
          </p:cNvPr>
          <p:cNvGrpSpPr/>
          <p:nvPr/>
        </p:nvGrpSpPr>
        <p:grpSpPr>
          <a:xfrm>
            <a:off x="1154292" y="3251200"/>
            <a:ext cx="641746" cy="640953"/>
            <a:chOff x="588434" y="30861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3" name="Freeform: Shape 52">
              <a:extLst>
                <a:ext uri="{FF2B5EF4-FFF2-40B4-BE49-F238E27FC236}">
                  <a16:creationId xmlns:a16="http://schemas.microsoft.com/office/drawing/2014/main" id="{7B236890-CE45-6A27-AC0D-2AF8AA48FA7F}"/>
                </a:ext>
              </a:extLst>
            </p:cNvPr>
            <p:cNvSpPr/>
            <p:nvPr/>
          </p:nvSpPr>
          <p:spPr>
            <a:xfrm>
              <a:off x="588434" y="30861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F62D1E6-CDF9-E860-945F-1A63D54C9DAD}"/>
                </a:ext>
              </a:extLst>
            </p:cNvPr>
            <p:cNvSpPr/>
            <p:nvPr/>
          </p:nvSpPr>
          <p:spPr>
            <a:xfrm>
              <a:off x="734502" y="31648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9" name="Graphic 5">
            <a:extLst>
              <a:ext uri="{FF2B5EF4-FFF2-40B4-BE49-F238E27FC236}">
                <a16:creationId xmlns:a16="http://schemas.microsoft.com/office/drawing/2014/main" id="{E58F973C-5F3B-DC95-5B85-C9AE5178907F}"/>
              </a:ext>
              <a:ext uri="{C183D7F6-B498-43B3-948B-1728B52AA6E4}">
                <adec:decorative xmlns:adec="http://schemas.microsoft.com/office/drawing/2017/decorative" val="1"/>
              </a:ext>
            </a:extLst>
          </p:cNvPr>
          <p:cNvGrpSpPr/>
          <p:nvPr/>
        </p:nvGrpSpPr>
        <p:grpSpPr>
          <a:xfrm>
            <a:off x="1154292" y="4940300"/>
            <a:ext cx="641746" cy="640953"/>
            <a:chOff x="588434" y="48133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0" name="Freeform: Shape 49">
              <a:extLst>
                <a:ext uri="{FF2B5EF4-FFF2-40B4-BE49-F238E27FC236}">
                  <a16:creationId xmlns:a16="http://schemas.microsoft.com/office/drawing/2014/main" id="{F0DDEA55-EE1C-D529-DC26-B0DC632DA1A9}"/>
                </a:ext>
              </a:extLst>
            </p:cNvPr>
            <p:cNvSpPr/>
            <p:nvPr/>
          </p:nvSpPr>
          <p:spPr>
            <a:xfrm>
              <a:off x="588434" y="48133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EAC73B6-2E17-EB02-7930-DAEC698017A4}"/>
                </a:ext>
              </a:extLst>
            </p:cNvPr>
            <p:cNvSpPr/>
            <p:nvPr/>
          </p:nvSpPr>
          <p:spPr>
            <a:xfrm>
              <a:off x="734502" y="48920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8A567E7F-581E-C0A4-38E0-37DFA3BE3FFC}"/>
              </a:ext>
              <a:ext uri="{C183D7F6-B498-43B3-948B-1728B52AA6E4}">
                <adec:decorative xmlns:adec="http://schemas.microsoft.com/office/drawing/2017/decorative" val="1"/>
              </a:ext>
            </a:extLst>
          </p:cNvPr>
          <p:cNvGrpSpPr/>
          <p:nvPr/>
        </p:nvGrpSpPr>
        <p:grpSpPr>
          <a:xfrm>
            <a:off x="4657666" y="1673168"/>
            <a:ext cx="566926" cy="358938"/>
            <a:chOff x="4751403" y="12397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73" name="Freeform: Shape 72">
              <a:extLst>
                <a:ext uri="{FF2B5EF4-FFF2-40B4-BE49-F238E27FC236}">
                  <a16:creationId xmlns:a16="http://schemas.microsoft.com/office/drawing/2014/main" id="{499E956C-D08A-98E4-9BD7-293C14FAD87C}"/>
                </a:ext>
              </a:extLst>
            </p:cNvPr>
            <p:cNvSpPr/>
            <p:nvPr/>
          </p:nvSpPr>
          <p:spPr>
            <a:xfrm>
              <a:off x="4816927" y="12940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0BD98A4-50A4-FA3C-383F-936831A50311}"/>
                </a:ext>
              </a:extLst>
            </p:cNvPr>
            <p:cNvSpPr/>
            <p:nvPr/>
          </p:nvSpPr>
          <p:spPr>
            <a:xfrm>
              <a:off x="4868869" y="14570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986E23F-AE66-A9A9-0FF2-EE6D25D669C3}"/>
                </a:ext>
              </a:extLst>
            </p:cNvPr>
            <p:cNvSpPr/>
            <p:nvPr/>
          </p:nvSpPr>
          <p:spPr>
            <a:xfrm>
              <a:off x="4910868" y="14970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A583C3F-3CD3-885B-16AE-E059077C11C2}"/>
                </a:ext>
              </a:extLst>
            </p:cNvPr>
            <p:cNvSpPr/>
            <p:nvPr/>
          </p:nvSpPr>
          <p:spPr>
            <a:xfrm>
              <a:off x="4955534" y="15365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373C8E5-E707-A8CB-2F79-45366007AF3B}"/>
                </a:ext>
              </a:extLst>
            </p:cNvPr>
            <p:cNvSpPr/>
            <p:nvPr/>
          </p:nvSpPr>
          <p:spPr>
            <a:xfrm>
              <a:off x="4834886" y="14523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A16B2237-6E0A-3B1C-B29A-00F6552BC704}"/>
                </a:ext>
              </a:extLst>
            </p:cNvPr>
            <p:cNvSpPr/>
            <p:nvPr/>
          </p:nvSpPr>
          <p:spPr>
            <a:xfrm>
              <a:off x="4924931" y="12837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CBBF2CC-C929-460F-8667-C1C0699279B4}"/>
                </a:ext>
              </a:extLst>
            </p:cNvPr>
            <p:cNvSpPr/>
            <p:nvPr/>
          </p:nvSpPr>
          <p:spPr>
            <a:xfrm>
              <a:off x="4751403" y="12397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2FF2284-CC9A-4B2D-164E-732EA4FE3AB6}"/>
                </a:ext>
              </a:extLst>
            </p:cNvPr>
            <p:cNvSpPr/>
            <p:nvPr/>
          </p:nvSpPr>
          <p:spPr>
            <a:xfrm>
              <a:off x="5180104" y="12397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4B8CBB2-3025-66B2-E6D7-E7EA965307C0}"/>
              </a:ext>
              <a:ext uri="{C183D7F6-B498-43B3-948B-1728B52AA6E4}">
                <adec:decorative xmlns:adec="http://schemas.microsoft.com/office/drawing/2017/decorative" val="1"/>
              </a:ext>
            </a:extLst>
          </p:cNvPr>
          <p:cNvGrpSpPr/>
          <p:nvPr/>
        </p:nvGrpSpPr>
        <p:grpSpPr>
          <a:xfrm>
            <a:off x="6328464" y="1501645"/>
            <a:ext cx="388929" cy="517705"/>
            <a:chOff x="6438901" y="1068257"/>
            <a:chExt cx="388929" cy="517705"/>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88" name="Freeform: Shape 87">
              <a:extLst>
                <a:ext uri="{FF2B5EF4-FFF2-40B4-BE49-F238E27FC236}">
                  <a16:creationId xmlns:a16="http://schemas.microsoft.com/office/drawing/2014/main" id="{D35D71D5-26E0-E07E-9933-DC4C06633599}"/>
                </a:ext>
              </a:extLst>
            </p:cNvPr>
            <p:cNvSpPr/>
            <p:nvPr/>
          </p:nvSpPr>
          <p:spPr>
            <a:xfrm>
              <a:off x="6533928" y="1436262"/>
              <a:ext cx="62874" cy="62744"/>
            </a:xfrm>
            <a:custGeom>
              <a:avLst/>
              <a:gdLst>
                <a:gd name="connsiteX0" fmla="*/ 0 w 62874"/>
                <a:gd name="connsiteY0" fmla="*/ 62744 h 62744"/>
                <a:gd name="connsiteX1" fmla="*/ 62875 w 62874"/>
                <a:gd name="connsiteY1" fmla="*/ 62744 h 62744"/>
                <a:gd name="connsiteX2" fmla="*/ 62875 w 62874"/>
                <a:gd name="connsiteY2" fmla="*/ 0 h 62744"/>
                <a:gd name="connsiteX3" fmla="*/ 0 w 62874"/>
                <a:gd name="connsiteY3" fmla="*/ 0 h 62744"/>
                <a:gd name="connsiteX4" fmla="*/ 0 w 62874"/>
                <a:gd name="connsiteY4" fmla="*/ 62744 h 62744"/>
                <a:gd name="connsiteX5" fmla="*/ 14840 w 62874"/>
                <a:gd name="connsiteY5" fmla="*/ 14840 h 62744"/>
                <a:gd name="connsiteX6" fmla="*/ 48035 w 62874"/>
                <a:gd name="connsiteY6" fmla="*/ 14840 h 62744"/>
                <a:gd name="connsiteX7" fmla="*/ 48035 w 62874"/>
                <a:gd name="connsiteY7" fmla="*/ 47904 h 62744"/>
                <a:gd name="connsiteX8" fmla="*/ 14840 w 62874"/>
                <a:gd name="connsiteY8" fmla="*/ 47904 h 62744"/>
                <a:gd name="connsiteX9" fmla="*/ 14840 w 62874"/>
                <a:gd name="connsiteY9" fmla="*/ 14840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0" y="62744"/>
                  </a:moveTo>
                  <a:lnTo>
                    <a:pt x="62875" y="62744"/>
                  </a:lnTo>
                  <a:lnTo>
                    <a:pt x="62875" y="0"/>
                  </a:lnTo>
                  <a:lnTo>
                    <a:pt x="0" y="0"/>
                  </a:lnTo>
                  <a:lnTo>
                    <a:pt x="0" y="62744"/>
                  </a:lnTo>
                  <a:close/>
                  <a:moveTo>
                    <a:pt x="14840" y="14840"/>
                  </a:moveTo>
                  <a:lnTo>
                    <a:pt x="48035" y="14840"/>
                  </a:lnTo>
                  <a:lnTo>
                    <a:pt x="48035" y="47904"/>
                  </a:lnTo>
                  <a:lnTo>
                    <a:pt x="14840" y="47904"/>
                  </a:lnTo>
                  <a:lnTo>
                    <a:pt x="14840" y="14840"/>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AA8569B-F598-669E-56D2-65685198F4CB}"/>
                </a:ext>
              </a:extLst>
            </p:cNvPr>
            <p:cNvSpPr/>
            <p:nvPr/>
          </p:nvSpPr>
          <p:spPr>
            <a:xfrm>
              <a:off x="6533798" y="1351128"/>
              <a:ext cx="62874" cy="62744"/>
            </a:xfrm>
            <a:custGeom>
              <a:avLst/>
              <a:gdLst>
                <a:gd name="connsiteX0" fmla="*/ 62875 w 62874"/>
                <a:gd name="connsiteY0" fmla="*/ 0 h 62744"/>
                <a:gd name="connsiteX1" fmla="*/ 0 w 62874"/>
                <a:gd name="connsiteY1" fmla="*/ 0 h 62744"/>
                <a:gd name="connsiteX2" fmla="*/ 0 w 62874"/>
                <a:gd name="connsiteY2" fmla="*/ 62744 h 62744"/>
                <a:gd name="connsiteX3" fmla="*/ 62875 w 62874"/>
                <a:gd name="connsiteY3" fmla="*/ 62744 h 62744"/>
                <a:gd name="connsiteX4" fmla="*/ 62875 w 62874"/>
                <a:gd name="connsiteY4" fmla="*/ 0 h 62744"/>
                <a:gd name="connsiteX5" fmla="*/ 48035 w 62874"/>
                <a:gd name="connsiteY5" fmla="*/ 47904 h 62744"/>
                <a:gd name="connsiteX6" fmla="*/ 14840 w 62874"/>
                <a:gd name="connsiteY6" fmla="*/ 47904 h 62744"/>
                <a:gd name="connsiteX7" fmla="*/ 14840 w 62874"/>
                <a:gd name="connsiteY7" fmla="*/ 14840 h 62744"/>
                <a:gd name="connsiteX8" fmla="*/ 48035 w 62874"/>
                <a:gd name="connsiteY8" fmla="*/ 14840 h 62744"/>
                <a:gd name="connsiteX9" fmla="*/ 48035 w 62874"/>
                <a:gd name="connsiteY9" fmla="*/ 47904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62875" y="0"/>
                  </a:moveTo>
                  <a:lnTo>
                    <a:pt x="0" y="0"/>
                  </a:lnTo>
                  <a:lnTo>
                    <a:pt x="0" y="62744"/>
                  </a:lnTo>
                  <a:lnTo>
                    <a:pt x="62875" y="62744"/>
                  </a:lnTo>
                  <a:lnTo>
                    <a:pt x="62875" y="0"/>
                  </a:lnTo>
                  <a:close/>
                  <a:moveTo>
                    <a:pt x="48035" y="47904"/>
                  </a:moveTo>
                  <a:lnTo>
                    <a:pt x="14840" y="47904"/>
                  </a:lnTo>
                  <a:lnTo>
                    <a:pt x="14840" y="14840"/>
                  </a:lnTo>
                  <a:lnTo>
                    <a:pt x="48035" y="14840"/>
                  </a:lnTo>
                  <a:lnTo>
                    <a:pt x="48035" y="47904"/>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0A52199-26E9-4903-FB68-66610D4FD3E6}"/>
                </a:ext>
              </a:extLst>
            </p:cNvPr>
            <p:cNvSpPr/>
            <p:nvPr/>
          </p:nvSpPr>
          <p:spPr>
            <a:xfrm>
              <a:off x="6533798" y="1264822"/>
              <a:ext cx="62874" cy="62874"/>
            </a:xfrm>
            <a:custGeom>
              <a:avLst/>
              <a:gdLst>
                <a:gd name="connsiteX0" fmla="*/ 62875 w 62874"/>
                <a:gd name="connsiteY0" fmla="*/ 0 h 62874"/>
                <a:gd name="connsiteX1" fmla="*/ 0 w 62874"/>
                <a:gd name="connsiteY1" fmla="*/ 0 h 62874"/>
                <a:gd name="connsiteX2" fmla="*/ 0 w 62874"/>
                <a:gd name="connsiteY2" fmla="*/ 62875 h 62874"/>
                <a:gd name="connsiteX3" fmla="*/ 62875 w 62874"/>
                <a:gd name="connsiteY3" fmla="*/ 62875 h 62874"/>
                <a:gd name="connsiteX4" fmla="*/ 62875 w 62874"/>
                <a:gd name="connsiteY4" fmla="*/ 0 h 62874"/>
                <a:gd name="connsiteX5" fmla="*/ 48035 w 62874"/>
                <a:gd name="connsiteY5" fmla="*/ 48035 h 62874"/>
                <a:gd name="connsiteX6" fmla="*/ 14840 w 62874"/>
                <a:gd name="connsiteY6" fmla="*/ 48035 h 62874"/>
                <a:gd name="connsiteX7" fmla="*/ 14840 w 62874"/>
                <a:gd name="connsiteY7" fmla="*/ 14840 h 62874"/>
                <a:gd name="connsiteX8" fmla="*/ 48035 w 62874"/>
                <a:gd name="connsiteY8" fmla="*/ 14840 h 62874"/>
                <a:gd name="connsiteX9" fmla="*/ 48035 w 62874"/>
                <a:gd name="connsiteY9" fmla="*/ 48035 h 6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874">
                  <a:moveTo>
                    <a:pt x="62875" y="0"/>
                  </a:moveTo>
                  <a:lnTo>
                    <a:pt x="0" y="0"/>
                  </a:lnTo>
                  <a:lnTo>
                    <a:pt x="0" y="62875"/>
                  </a:lnTo>
                  <a:lnTo>
                    <a:pt x="62875" y="62875"/>
                  </a:lnTo>
                  <a:lnTo>
                    <a:pt x="62875" y="0"/>
                  </a:lnTo>
                  <a:close/>
                  <a:moveTo>
                    <a:pt x="48035" y="48035"/>
                  </a:moveTo>
                  <a:lnTo>
                    <a:pt x="14840" y="48035"/>
                  </a:lnTo>
                  <a:lnTo>
                    <a:pt x="14840" y="14840"/>
                  </a:lnTo>
                  <a:lnTo>
                    <a:pt x="48035" y="14840"/>
                  </a:lnTo>
                  <a:lnTo>
                    <a:pt x="48035" y="48035"/>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7443F6DA-333A-E7FF-FF42-1E343B1D5DF4}"/>
                </a:ext>
              </a:extLst>
            </p:cNvPr>
            <p:cNvSpPr/>
            <p:nvPr/>
          </p:nvSpPr>
          <p:spPr>
            <a:xfrm>
              <a:off x="6438901" y="1068257"/>
              <a:ext cx="357460" cy="517705"/>
            </a:xfrm>
            <a:custGeom>
              <a:avLst/>
              <a:gdLst>
                <a:gd name="connsiteX0" fmla="*/ 357330 w 357460"/>
                <a:gd name="connsiteY0" fmla="*/ 196564 h 517705"/>
                <a:gd name="connsiteX1" fmla="*/ 357330 w 357460"/>
                <a:gd name="connsiteY1" fmla="*/ 87478 h 517705"/>
                <a:gd name="connsiteX2" fmla="*/ 325698 w 357460"/>
                <a:gd name="connsiteY2" fmla="*/ 55845 h 517705"/>
                <a:gd name="connsiteX3" fmla="*/ 227416 w 357460"/>
                <a:gd name="connsiteY3" fmla="*/ 55845 h 517705"/>
                <a:gd name="connsiteX4" fmla="*/ 178600 w 357460"/>
                <a:gd name="connsiteY4" fmla="*/ 0 h 517705"/>
                <a:gd name="connsiteX5" fmla="*/ 129784 w 357460"/>
                <a:gd name="connsiteY5" fmla="*/ 55845 h 517705"/>
                <a:gd name="connsiteX6" fmla="*/ 31633 w 357460"/>
                <a:gd name="connsiteY6" fmla="*/ 55845 h 517705"/>
                <a:gd name="connsiteX7" fmla="*/ 0 w 357460"/>
                <a:gd name="connsiteY7" fmla="*/ 87478 h 517705"/>
                <a:gd name="connsiteX8" fmla="*/ 0 w 357460"/>
                <a:gd name="connsiteY8" fmla="*/ 486073 h 517705"/>
                <a:gd name="connsiteX9" fmla="*/ 31633 w 357460"/>
                <a:gd name="connsiteY9" fmla="*/ 517706 h 517705"/>
                <a:gd name="connsiteX10" fmla="*/ 325698 w 357460"/>
                <a:gd name="connsiteY10" fmla="*/ 517706 h 517705"/>
                <a:gd name="connsiteX11" fmla="*/ 357330 w 357460"/>
                <a:gd name="connsiteY11" fmla="*/ 486073 h 517705"/>
                <a:gd name="connsiteX12" fmla="*/ 357330 w 357460"/>
                <a:gd name="connsiteY12" fmla="*/ 473316 h 517705"/>
                <a:gd name="connsiteX13" fmla="*/ 47904 w 357460"/>
                <a:gd name="connsiteY13" fmla="*/ 473316 h 517705"/>
                <a:gd name="connsiteX14" fmla="*/ 47904 w 357460"/>
                <a:gd name="connsiteY14" fmla="*/ 100365 h 517705"/>
                <a:gd name="connsiteX15" fmla="*/ 99324 w 357460"/>
                <a:gd name="connsiteY15" fmla="*/ 100365 h 517705"/>
                <a:gd name="connsiteX16" fmla="*/ 177819 w 357460"/>
                <a:gd name="connsiteY16" fmla="*/ 146577 h 517705"/>
                <a:gd name="connsiteX17" fmla="*/ 258007 w 357460"/>
                <a:gd name="connsiteY17" fmla="*/ 100365 h 517705"/>
                <a:gd name="connsiteX18" fmla="*/ 309556 w 357460"/>
                <a:gd name="connsiteY18" fmla="*/ 100365 h 517705"/>
                <a:gd name="connsiteX19" fmla="*/ 309556 w 357460"/>
                <a:gd name="connsiteY19" fmla="*/ 196564 h 517705"/>
                <a:gd name="connsiteX20" fmla="*/ 357461 w 357460"/>
                <a:gd name="connsiteY20" fmla="*/ 196564 h 517705"/>
                <a:gd name="connsiteX21" fmla="*/ 178730 w 357460"/>
                <a:gd name="connsiteY21" fmla="*/ 29810 h 517705"/>
                <a:gd name="connsiteX22" fmla="*/ 201381 w 357460"/>
                <a:gd name="connsiteY22" fmla="*/ 55975 h 517705"/>
                <a:gd name="connsiteX23" fmla="*/ 178730 w 357460"/>
                <a:gd name="connsiteY23" fmla="*/ 82140 h 517705"/>
                <a:gd name="connsiteX24" fmla="*/ 156080 w 357460"/>
                <a:gd name="connsiteY24" fmla="*/ 55975 h 517705"/>
                <a:gd name="connsiteX25" fmla="*/ 178730 w 357460"/>
                <a:gd name="connsiteY25" fmla="*/ 29810 h 5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7460" h="517705">
                  <a:moveTo>
                    <a:pt x="357330" y="196564"/>
                  </a:moveTo>
                  <a:lnTo>
                    <a:pt x="357330" y="87478"/>
                  </a:lnTo>
                  <a:cubicBezTo>
                    <a:pt x="357330" y="70034"/>
                    <a:pt x="343141" y="55845"/>
                    <a:pt x="325698" y="55845"/>
                  </a:cubicBezTo>
                  <a:lnTo>
                    <a:pt x="227416" y="55845"/>
                  </a:lnTo>
                  <a:cubicBezTo>
                    <a:pt x="227416" y="24994"/>
                    <a:pt x="205546" y="0"/>
                    <a:pt x="178600" y="0"/>
                  </a:cubicBezTo>
                  <a:cubicBezTo>
                    <a:pt x="151654" y="0"/>
                    <a:pt x="129784" y="24994"/>
                    <a:pt x="129784" y="55845"/>
                  </a:cubicBezTo>
                  <a:lnTo>
                    <a:pt x="31633" y="55845"/>
                  </a:lnTo>
                  <a:cubicBezTo>
                    <a:pt x="14189" y="55845"/>
                    <a:pt x="0" y="70034"/>
                    <a:pt x="0" y="87478"/>
                  </a:cubicBezTo>
                  <a:lnTo>
                    <a:pt x="0" y="486073"/>
                  </a:lnTo>
                  <a:cubicBezTo>
                    <a:pt x="0" y="503647"/>
                    <a:pt x="14189" y="517706"/>
                    <a:pt x="31633" y="517706"/>
                  </a:cubicBezTo>
                  <a:lnTo>
                    <a:pt x="325698" y="517706"/>
                  </a:lnTo>
                  <a:cubicBezTo>
                    <a:pt x="343141" y="517706"/>
                    <a:pt x="357330" y="503517"/>
                    <a:pt x="357330" y="486073"/>
                  </a:cubicBezTo>
                  <a:lnTo>
                    <a:pt x="357330" y="473316"/>
                  </a:lnTo>
                  <a:lnTo>
                    <a:pt x="47904" y="473316"/>
                  </a:lnTo>
                  <a:lnTo>
                    <a:pt x="47904" y="100365"/>
                  </a:lnTo>
                  <a:lnTo>
                    <a:pt x="99324" y="100365"/>
                  </a:lnTo>
                  <a:cubicBezTo>
                    <a:pt x="99324" y="100365"/>
                    <a:pt x="101016" y="146577"/>
                    <a:pt x="177819" y="146577"/>
                  </a:cubicBezTo>
                  <a:cubicBezTo>
                    <a:pt x="254622" y="146577"/>
                    <a:pt x="258007" y="100365"/>
                    <a:pt x="258007" y="100365"/>
                  </a:cubicBezTo>
                  <a:lnTo>
                    <a:pt x="309556" y="100365"/>
                  </a:lnTo>
                  <a:lnTo>
                    <a:pt x="309556" y="196564"/>
                  </a:lnTo>
                  <a:cubicBezTo>
                    <a:pt x="309556" y="226765"/>
                    <a:pt x="357461" y="228327"/>
                    <a:pt x="357461" y="196564"/>
                  </a:cubicBezTo>
                  <a:close/>
                  <a:moveTo>
                    <a:pt x="178730" y="29810"/>
                  </a:moveTo>
                  <a:cubicBezTo>
                    <a:pt x="191227" y="29810"/>
                    <a:pt x="201381" y="41526"/>
                    <a:pt x="201381" y="55975"/>
                  </a:cubicBezTo>
                  <a:cubicBezTo>
                    <a:pt x="201381" y="70425"/>
                    <a:pt x="191227" y="82140"/>
                    <a:pt x="178730" y="82140"/>
                  </a:cubicBezTo>
                  <a:cubicBezTo>
                    <a:pt x="166233" y="82140"/>
                    <a:pt x="156080" y="70425"/>
                    <a:pt x="156080" y="55975"/>
                  </a:cubicBezTo>
                  <a:cubicBezTo>
                    <a:pt x="156080" y="41526"/>
                    <a:pt x="166233" y="29810"/>
                    <a:pt x="178730" y="29810"/>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4D10541D-05BA-2AE7-BFFA-ADDE99DED5D5}"/>
                </a:ext>
              </a:extLst>
            </p:cNvPr>
            <p:cNvSpPr/>
            <p:nvPr/>
          </p:nvSpPr>
          <p:spPr>
            <a:xfrm>
              <a:off x="6648824" y="1322261"/>
              <a:ext cx="179006" cy="179006"/>
            </a:xfrm>
            <a:custGeom>
              <a:avLst/>
              <a:gdLst>
                <a:gd name="connsiteX0" fmla="*/ 152744 w 179006"/>
                <a:gd name="connsiteY0" fmla="*/ 152793 h 179006"/>
                <a:gd name="connsiteX1" fmla="*/ 152744 w 179006"/>
                <a:gd name="connsiteY1" fmla="*/ 26263 h 179006"/>
                <a:gd name="connsiteX2" fmla="*/ 26214 w 179006"/>
                <a:gd name="connsiteY2" fmla="*/ 26263 h 179006"/>
                <a:gd name="connsiteX3" fmla="*/ 26214 w 179006"/>
                <a:gd name="connsiteY3" fmla="*/ 152793 h 179006"/>
                <a:gd name="connsiteX4" fmla="*/ 152744 w 179006"/>
                <a:gd name="connsiteY4" fmla="*/ 152793 h 179006"/>
                <a:gd name="connsiteX5" fmla="*/ 38841 w 179006"/>
                <a:gd name="connsiteY5" fmla="*/ 74037 h 179006"/>
                <a:gd name="connsiteX6" fmla="*/ 39492 w 179006"/>
                <a:gd name="connsiteY6" fmla="*/ 73256 h 179006"/>
                <a:gd name="connsiteX7" fmla="*/ 59929 w 179006"/>
                <a:gd name="connsiteY7" fmla="*/ 73256 h 179006"/>
                <a:gd name="connsiteX8" fmla="*/ 82059 w 179006"/>
                <a:gd name="connsiteY8" fmla="*/ 95516 h 179006"/>
                <a:gd name="connsiteX9" fmla="*/ 126579 w 179006"/>
                <a:gd name="connsiteY9" fmla="*/ 50996 h 179006"/>
                <a:gd name="connsiteX10" fmla="*/ 147016 w 179006"/>
                <a:gd name="connsiteY10" fmla="*/ 50996 h 179006"/>
                <a:gd name="connsiteX11" fmla="*/ 147016 w 179006"/>
                <a:gd name="connsiteY11" fmla="*/ 71434 h 179006"/>
                <a:gd name="connsiteX12" fmla="*/ 124887 w 179006"/>
                <a:gd name="connsiteY12" fmla="*/ 93563 h 179006"/>
                <a:gd name="connsiteX13" fmla="*/ 82189 w 179006"/>
                <a:gd name="connsiteY13" fmla="*/ 136261 h 179006"/>
                <a:gd name="connsiteX14" fmla="*/ 61882 w 179006"/>
                <a:gd name="connsiteY14" fmla="*/ 115953 h 179006"/>
                <a:gd name="connsiteX15" fmla="*/ 39752 w 179006"/>
                <a:gd name="connsiteY15" fmla="*/ 93824 h 179006"/>
                <a:gd name="connsiteX16" fmla="*/ 39101 w 179006"/>
                <a:gd name="connsiteY16" fmla="*/ 74167 h 1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006" h="179006">
                  <a:moveTo>
                    <a:pt x="152744" y="152793"/>
                  </a:moveTo>
                  <a:cubicBezTo>
                    <a:pt x="187761" y="117906"/>
                    <a:pt x="187761" y="61150"/>
                    <a:pt x="152744" y="26263"/>
                  </a:cubicBezTo>
                  <a:cubicBezTo>
                    <a:pt x="117857" y="-8754"/>
                    <a:pt x="61101" y="-8754"/>
                    <a:pt x="26214" y="26263"/>
                  </a:cubicBezTo>
                  <a:cubicBezTo>
                    <a:pt x="-8673" y="61280"/>
                    <a:pt x="-8803" y="117906"/>
                    <a:pt x="26214" y="152793"/>
                  </a:cubicBezTo>
                  <a:cubicBezTo>
                    <a:pt x="61231" y="187680"/>
                    <a:pt x="117857" y="187810"/>
                    <a:pt x="152744" y="152793"/>
                  </a:cubicBezTo>
                  <a:close/>
                  <a:moveTo>
                    <a:pt x="38841" y="74037"/>
                  </a:moveTo>
                  <a:cubicBezTo>
                    <a:pt x="38841" y="74037"/>
                    <a:pt x="39232" y="73516"/>
                    <a:pt x="39492" y="73256"/>
                  </a:cubicBezTo>
                  <a:cubicBezTo>
                    <a:pt x="45089" y="67658"/>
                    <a:pt x="54202" y="67658"/>
                    <a:pt x="59929" y="73256"/>
                  </a:cubicBezTo>
                  <a:lnTo>
                    <a:pt x="82059" y="95516"/>
                  </a:lnTo>
                  <a:lnTo>
                    <a:pt x="126579" y="50996"/>
                  </a:lnTo>
                  <a:cubicBezTo>
                    <a:pt x="132176" y="45399"/>
                    <a:pt x="141289" y="45399"/>
                    <a:pt x="147016" y="50996"/>
                  </a:cubicBezTo>
                  <a:cubicBezTo>
                    <a:pt x="152614" y="56594"/>
                    <a:pt x="152614" y="65706"/>
                    <a:pt x="147016" y="71434"/>
                  </a:cubicBezTo>
                  <a:lnTo>
                    <a:pt x="124887" y="93563"/>
                  </a:lnTo>
                  <a:lnTo>
                    <a:pt x="82189" y="136261"/>
                  </a:lnTo>
                  <a:lnTo>
                    <a:pt x="61882" y="115953"/>
                  </a:lnTo>
                  <a:lnTo>
                    <a:pt x="39752" y="93824"/>
                  </a:lnTo>
                  <a:cubicBezTo>
                    <a:pt x="34285" y="88486"/>
                    <a:pt x="34155" y="79895"/>
                    <a:pt x="39101" y="74167"/>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6" name="Graphic 15">
            <a:extLst>
              <a:ext uri="{FF2B5EF4-FFF2-40B4-BE49-F238E27FC236}">
                <a16:creationId xmlns:a16="http://schemas.microsoft.com/office/drawing/2014/main" id="{31FA62A3-084A-9523-F4E8-6BAC6515E30A}"/>
              </a:ext>
              <a:ext uri="{C183D7F6-B498-43B3-948B-1728B52AA6E4}">
                <adec:decorative xmlns:adec="http://schemas.microsoft.com/office/drawing/2017/decorative" val="1"/>
              </a:ext>
            </a:extLst>
          </p:cNvPr>
          <p:cNvGrpSpPr/>
          <p:nvPr/>
        </p:nvGrpSpPr>
        <p:grpSpPr>
          <a:xfrm>
            <a:off x="3143996" y="3378200"/>
            <a:ext cx="462057" cy="461486"/>
            <a:chOff x="2882900" y="3060700"/>
            <a:chExt cx="462057" cy="46148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77" name="Freeform: Shape 176">
              <a:extLst>
                <a:ext uri="{FF2B5EF4-FFF2-40B4-BE49-F238E27FC236}">
                  <a16:creationId xmlns:a16="http://schemas.microsoft.com/office/drawing/2014/main" id="{9AA67418-FF9B-F7E0-CA10-2E9A4FCEA991}"/>
                </a:ext>
              </a:extLst>
            </p:cNvPr>
            <p:cNvSpPr/>
            <p:nvPr/>
          </p:nvSpPr>
          <p:spPr>
            <a:xfrm>
              <a:off x="2882900" y="3060700"/>
              <a:ext cx="462057" cy="461486"/>
            </a:xfrm>
            <a:custGeom>
              <a:avLst/>
              <a:gdLst>
                <a:gd name="connsiteX0" fmla="*/ 14859 w 462057"/>
                <a:gd name="connsiteY0" fmla="*/ 416909 h 461486"/>
                <a:gd name="connsiteX1" fmla="*/ 44101 w 462057"/>
                <a:gd name="connsiteY1" fmla="*/ 445484 h 461486"/>
                <a:gd name="connsiteX2" fmla="*/ 419005 w 462057"/>
                <a:gd name="connsiteY2" fmla="*/ 446627 h 461486"/>
                <a:gd name="connsiteX3" fmla="*/ 419005 w 462057"/>
                <a:gd name="connsiteY3" fmla="*/ 461486 h 461486"/>
                <a:gd name="connsiteX4" fmla="*/ 462058 w 462057"/>
                <a:gd name="connsiteY4" fmla="*/ 436721 h 461486"/>
                <a:gd name="connsiteX5" fmla="*/ 419100 w 462057"/>
                <a:gd name="connsiteY5" fmla="*/ 411766 h 461486"/>
                <a:gd name="connsiteX6" fmla="*/ 419100 w 462057"/>
                <a:gd name="connsiteY6" fmla="*/ 426625 h 461486"/>
                <a:gd name="connsiteX7" fmla="*/ 379190 w 462057"/>
                <a:gd name="connsiteY7" fmla="*/ 426530 h 461486"/>
                <a:gd name="connsiteX8" fmla="*/ 380429 w 462057"/>
                <a:gd name="connsiteY8" fmla="*/ 420243 h 461486"/>
                <a:gd name="connsiteX9" fmla="*/ 380429 w 462057"/>
                <a:gd name="connsiteY9" fmla="*/ 312515 h 461486"/>
                <a:gd name="connsiteX10" fmla="*/ 345662 w 462057"/>
                <a:gd name="connsiteY10" fmla="*/ 332518 h 461486"/>
                <a:gd name="connsiteX11" fmla="*/ 312611 w 462057"/>
                <a:gd name="connsiteY11" fmla="*/ 315182 h 461486"/>
                <a:gd name="connsiteX12" fmla="*/ 312611 w 462057"/>
                <a:gd name="connsiteY12" fmla="*/ 420338 h 461486"/>
                <a:gd name="connsiteX13" fmla="*/ 313754 w 462057"/>
                <a:gd name="connsiteY13" fmla="*/ 426434 h 461486"/>
                <a:gd name="connsiteX14" fmla="*/ 257270 w 462057"/>
                <a:gd name="connsiteY14" fmla="*/ 426244 h 461486"/>
                <a:gd name="connsiteX15" fmla="*/ 258128 w 462057"/>
                <a:gd name="connsiteY15" fmla="*/ 421005 h 461486"/>
                <a:gd name="connsiteX16" fmla="*/ 258128 w 462057"/>
                <a:gd name="connsiteY16" fmla="*/ 238125 h 461486"/>
                <a:gd name="connsiteX17" fmla="*/ 229362 w 462057"/>
                <a:gd name="connsiteY17" fmla="*/ 205550 h 461486"/>
                <a:gd name="connsiteX18" fmla="*/ 190310 w 462057"/>
                <a:gd name="connsiteY18" fmla="*/ 277559 h 461486"/>
                <a:gd name="connsiteX19" fmla="*/ 190310 w 462057"/>
                <a:gd name="connsiteY19" fmla="*/ 421005 h 461486"/>
                <a:gd name="connsiteX20" fmla="*/ 191167 w 462057"/>
                <a:gd name="connsiteY20" fmla="*/ 426053 h 461486"/>
                <a:gd name="connsiteX21" fmla="*/ 147733 w 462057"/>
                <a:gd name="connsiteY21" fmla="*/ 426053 h 461486"/>
                <a:gd name="connsiteX22" fmla="*/ 149066 w 462057"/>
                <a:gd name="connsiteY22" fmla="*/ 419291 h 461486"/>
                <a:gd name="connsiteX23" fmla="*/ 149066 w 462057"/>
                <a:gd name="connsiteY23" fmla="*/ 377762 h 461486"/>
                <a:gd name="connsiteX24" fmla="*/ 114300 w 462057"/>
                <a:gd name="connsiteY24" fmla="*/ 397764 h 461486"/>
                <a:gd name="connsiteX25" fmla="*/ 81248 w 462057"/>
                <a:gd name="connsiteY25" fmla="*/ 380429 h 461486"/>
                <a:gd name="connsiteX26" fmla="*/ 81248 w 462057"/>
                <a:gd name="connsiteY26" fmla="*/ 419386 h 461486"/>
                <a:gd name="connsiteX27" fmla="*/ 82487 w 462057"/>
                <a:gd name="connsiteY27" fmla="*/ 425863 h 461486"/>
                <a:gd name="connsiteX28" fmla="*/ 44196 w 462057"/>
                <a:gd name="connsiteY28" fmla="*/ 425863 h 461486"/>
                <a:gd name="connsiteX29" fmla="*/ 34862 w 462057"/>
                <a:gd name="connsiteY29" fmla="*/ 417100 h 461486"/>
                <a:gd name="connsiteX30" fmla="*/ 34862 w 462057"/>
                <a:gd name="connsiteY30" fmla="*/ 43053 h 461486"/>
                <a:gd name="connsiteX31" fmla="*/ 49720 w 462057"/>
                <a:gd name="connsiteY31" fmla="*/ 43053 h 461486"/>
                <a:gd name="connsiteX32" fmla="*/ 24860 w 462057"/>
                <a:gd name="connsiteY32" fmla="*/ 0 h 461486"/>
                <a:gd name="connsiteX33" fmla="*/ 0 w 462057"/>
                <a:gd name="connsiteY33" fmla="*/ 43053 h 461486"/>
                <a:gd name="connsiteX34" fmla="*/ 14859 w 462057"/>
                <a:gd name="connsiteY34" fmla="*/ 43053 h 461486"/>
                <a:gd name="connsiteX35" fmla="*/ 14859 w 462057"/>
                <a:gd name="connsiteY35" fmla="*/ 416814 h 461486"/>
                <a:gd name="connsiteX36" fmla="*/ 14859 w 462057"/>
                <a:gd name="connsiteY36" fmla="*/ 416814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2057" h="461486">
                  <a:moveTo>
                    <a:pt x="14859" y="416909"/>
                  </a:moveTo>
                  <a:cubicBezTo>
                    <a:pt x="14859" y="432625"/>
                    <a:pt x="28004" y="445389"/>
                    <a:pt x="44101" y="445484"/>
                  </a:cubicBezTo>
                  <a:lnTo>
                    <a:pt x="419005" y="446627"/>
                  </a:lnTo>
                  <a:lnTo>
                    <a:pt x="419005" y="461486"/>
                  </a:lnTo>
                  <a:cubicBezTo>
                    <a:pt x="419005" y="461486"/>
                    <a:pt x="462058" y="436721"/>
                    <a:pt x="462058" y="436721"/>
                  </a:cubicBezTo>
                  <a:lnTo>
                    <a:pt x="419100" y="411766"/>
                  </a:lnTo>
                  <a:lnTo>
                    <a:pt x="419100" y="426625"/>
                  </a:lnTo>
                  <a:cubicBezTo>
                    <a:pt x="419100" y="426625"/>
                    <a:pt x="379190" y="426530"/>
                    <a:pt x="379190" y="426530"/>
                  </a:cubicBezTo>
                  <a:cubicBezTo>
                    <a:pt x="379952" y="424625"/>
                    <a:pt x="380429" y="422529"/>
                    <a:pt x="380429" y="420243"/>
                  </a:cubicBezTo>
                  <a:lnTo>
                    <a:pt x="380429" y="312515"/>
                  </a:lnTo>
                  <a:cubicBezTo>
                    <a:pt x="373475" y="324422"/>
                    <a:pt x="360521" y="332518"/>
                    <a:pt x="345662" y="332518"/>
                  </a:cubicBezTo>
                  <a:cubicBezTo>
                    <a:pt x="331946" y="332518"/>
                    <a:pt x="319850" y="325660"/>
                    <a:pt x="312611" y="315182"/>
                  </a:cubicBezTo>
                  <a:lnTo>
                    <a:pt x="312611" y="420338"/>
                  </a:lnTo>
                  <a:cubicBezTo>
                    <a:pt x="312611" y="422434"/>
                    <a:pt x="312992" y="424529"/>
                    <a:pt x="313754" y="426434"/>
                  </a:cubicBezTo>
                  <a:lnTo>
                    <a:pt x="257270" y="426244"/>
                  </a:lnTo>
                  <a:cubicBezTo>
                    <a:pt x="257842" y="424625"/>
                    <a:pt x="258128" y="422815"/>
                    <a:pt x="258128" y="421005"/>
                  </a:cubicBezTo>
                  <a:lnTo>
                    <a:pt x="258128" y="238125"/>
                  </a:lnTo>
                  <a:lnTo>
                    <a:pt x="229362" y="205550"/>
                  </a:lnTo>
                  <a:lnTo>
                    <a:pt x="190310" y="277559"/>
                  </a:lnTo>
                  <a:lnTo>
                    <a:pt x="190310" y="421005"/>
                  </a:lnTo>
                  <a:cubicBezTo>
                    <a:pt x="190310" y="422815"/>
                    <a:pt x="190595" y="424434"/>
                    <a:pt x="191167" y="426053"/>
                  </a:cubicBezTo>
                  <a:lnTo>
                    <a:pt x="147733" y="426053"/>
                  </a:lnTo>
                  <a:cubicBezTo>
                    <a:pt x="148590" y="423863"/>
                    <a:pt x="149066" y="421576"/>
                    <a:pt x="149066" y="419291"/>
                  </a:cubicBezTo>
                  <a:lnTo>
                    <a:pt x="149066" y="377762"/>
                  </a:lnTo>
                  <a:cubicBezTo>
                    <a:pt x="142113" y="389668"/>
                    <a:pt x="129159" y="397764"/>
                    <a:pt x="114300" y="397764"/>
                  </a:cubicBezTo>
                  <a:cubicBezTo>
                    <a:pt x="100584" y="397764"/>
                    <a:pt x="88487" y="390906"/>
                    <a:pt x="81248" y="380429"/>
                  </a:cubicBezTo>
                  <a:lnTo>
                    <a:pt x="81248" y="419386"/>
                  </a:lnTo>
                  <a:cubicBezTo>
                    <a:pt x="81248" y="421672"/>
                    <a:pt x="81725" y="423863"/>
                    <a:pt x="82487" y="425863"/>
                  </a:cubicBezTo>
                  <a:lnTo>
                    <a:pt x="44196" y="425863"/>
                  </a:lnTo>
                  <a:cubicBezTo>
                    <a:pt x="39053" y="425768"/>
                    <a:pt x="34862" y="421862"/>
                    <a:pt x="34862" y="417100"/>
                  </a:cubicBezTo>
                  <a:lnTo>
                    <a:pt x="34862" y="43053"/>
                  </a:lnTo>
                  <a:lnTo>
                    <a:pt x="49720" y="43053"/>
                  </a:lnTo>
                  <a:lnTo>
                    <a:pt x="24860" y="0"/>
                  </a:lnTo>
                  <a:lnTo>
                    <a:pt x="0" y="43053"/>
                  </a:lnTo>
                  <a:lnTo>
                    <a:pt x="14859" y="43053"/>
                  </a:lnTo>
                  <a:lnTo>
                    <a:pt x="14859" y="416814"/>
                  </a:lnTo>
                  <a:lnTo>
                    <a:pt x="14859" y="4168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DDA6F4A5-7994-332A-B771-D5B77921E359}"/>
                </a:ext>
              </a:extLst>
            </p:cNvPr>
            <p:cNvSpPr/>
            <p:nvPr/>
          </p:nvSpPr>
          <p:spPr>
            <a:xfrm>
              <a:off x="2964053" y="3243580"/>
              <a:ext cx="67913" cy="151542"/>
            </a:xfrm>
            <a:custGeom>
              <a:avLst/>
              <a:gdLst>
                <a:gd name="connsiteX0" fmla="*/ 18097 w 67913"/>
                <a:gd name="connsiteY0" fmla="*/ 137160 h 151542"/>
                <a:gd name="connsiteX1" fmla="*/ 67913 w 67913"/>
                <a:gd name="connsiteY1" fmla="*/ 45148 h 151542"/>
                <a:gd name="connsiteX2" fmla="*/ 67913 w 67913"/>
                <a:gd name="connsiteY2" fmla="*/ 17621 h 151542"/>
                <a:gd name="connsiteX3" fmla="*/ 50292 w 67913"/>
                <a:gd name="connsiteY3" fmla="*/ 0 h 151542"/>
                <a:gd name="connsiteX4" fmla="*/ 17621 w 67913"/>
                <a:gd name="connsiteY4" fmla="*/ 0 h 151542"/>
                <a:gd name="connsiteX5" fmla="*/ 0 w 67913"/>
                <a:gd name="connsiteY5" fmla="*/ 17621 h 151542"/>
                <a:gd name="connsiteX6" fmla="*/ 0 w 67913"/>
                <a:gd name="connsiteY6" fmla="*/ 151543 h 151542"/>
                <a:gd name="connsiteX7" fmla="*/ 3619 w 67913"/>
                <a:gd name="connsiteY7" fmla="*/ 147066 h 151542"/>
                <a:gd name="connsiteX8" fmla="*/ 18002 w 67913"/>
                <a:gd name="connsiteY8" fmla="*/ 137065 h 151542"/>
                <a:gd name="connsiteX9" fmla="*/ 18002 w 67913"/>
                <a:gd name="connsiteY9" fmla="*/ 137065 h 15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13" h="151542">
                  <a:moveTo>
                    <a:pt x="18097" y="137160"/>
                  </a:moveTo>
                  <a:lnTo>
                    <a:pt x="67913" y="45148"/>
                  </a:lnTo>
                  <a:lnTo>
                    <a:pt x="67913" y="17621"/>
                  </a:lnTo>
                  <a:cubicBezTo>
                    <a:pt x="67913" y="7906"/>
                    <a:pt x="60007" y="0"/>
                    <a:pt x="50292" y="0"/>
                  </a:cubicBezTo>
                  <a:lnTo>
                    <a:pt x="17621" y="0"/>
                  </a:lnTo>
                  <a:cubicBezTo>
                    <a:pt x="7906" y="0"/>
                    <a:pt x="0" y="7906"/>
                    <a:pt x="0" y="17621"/>
                  </a:cubicBezTo>
                  <a:lnTo>
                    <a:pt x="0" y="151543"/>
                  </a:lnTo>
                  <a:cubicBezTo>
                    <a:pt x="1048" y="150019"/>
                    <a:pt x="2286" y="148495"/>
                    <a:pt x="3619" y="147066"/>
                  </a:cubicBezTo>
                  <a:cubicBezTo>
                    <a:pt x="7715" y="142685"/>
                    <a:pt x="12573" y="139255"/>
                    <a:pt x="18002" y="137065"/>
                  </a:cubicBezTo>
                  <a:lnTo>
                    <a:pt x="18002" y="137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0D27AA61-FE89-F153-E510-108B4B321799}"/>
                </a:ext>
              </a:extLst>
            </p:cNvPr>
            <p:cNvSpPr/>
            <p:nvPr/>
          </p:nvSpPr>
          <p:spPr>
            <a:xfrm>
              <a:off x="3195605" y="3181477"/>
              <a:ext cx="67817" cy="151066"/>
            </a:xfrm>
            <a:custGeom>
              <a:avLst/>
              <a:gdLst>
                <a:gd name="connsiteX0" fmla="*/ 67818 w 67817"/>
                <a:gd name="connsiteY0" fmla="*/ 151067 h 151066"/>
                <a:gd name="connsiteX1" fmla="*/ 67818 w 67817"/>
                <a:gd name="connsiteY1" fmla="*/ 16478 h 151066"/>
                <a:gd name="connsiteX2" fmla="*/ 51340 w 67817"/>
                <a:gd name="connsiteY2" fmla="*/ 0 h 151066"/>
                <a:gd name="connsiteX3" fmla="*/ 16478 w 67817"/>
                <a:gd name="connsiteY3" fmla="*/ 0 h 151066"/>
                <a:gd name="connsiteX4" fmla="*/ 0 w 67817"/>
                <a:gd name="connsiteY4" fmla="*/ 16478 h 151066"/>
                <a:gd name="connsiteX5" fmla="*/ 0 w 67817"/>
                <a:gd name="connsiteY5" fmla="*/ 88392 h 151066"/>
                <a:gd name="connsiteX6" fmla="*/ 38005 w 67817"/>
                <a:gd name="connsiteY6" fmla="*/ 131445 h 151066"/>
                <a:gd name="connsiteX7" fmla="*/ 67818 w 67817"/>
                <a:gd name="connsiteY7" fmla="*/ 151067 h 151066"/>
                <a:gd name="connsiteX8" fmla="*/ 67818 w 67817"/>
                <a:gd name="connsiteY8" fmla="*/ 151067 h 1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7" h="151066">
                  <a:moveTo>
                    <a:pt x="67818" y="151067"/>
                  </a:moveTo>
                  <a:lnTo>
                    <a:pt x="67818" y="16478"/>
                  </a:lnTo>
                  <a:cubicBezTo>
                    <a:pt x="67818" y="7334"/>
                    <a:pt x="60484" y="0"/>
                    <a:pt x="51340" y="0"/>
                  </a:cubicBezTo>
                  <a:lnTo>
                    <a:pt x="16478" y="0"/>
                  </a:lnTo>
                  <a:cubicBezTo>
                    <a:pt x="7334" y="0"/>
                    <a:pt x="0" y="7334"/>
                    <a:pt x="0" y="16478"/>
                  </a:cubicBezTo>
                  <a:lnTo>
                    <a:pt x="0" y="88392"/>
                  </a:lnTo>
                  <a:lnTo>
                    <a:pt x="38005" y="131445"/>
                  </a:lnTo>
                  <a:cubicBezTo>
                    <a:pt x="50673" y="132969"/>
                    <a:pt x="61627" y="140494"/>
                    <a:pt x="67818" y="151067"/>
                  </a:cubicBezTo>
                  <a:lnTo>
                    <a:pt x="67818" y="151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D522885-EC71-1288-C82D-60B4AD9E717D}"/>
                </a:ext>
              </a:extLst>
            </p:cNvPr>
            <p:cNvSpPr/>
            <p:nvPr/>
          </p:nvSpPr>
          <p:spPr>
            <a:xfrm>
              <a:off x="3073304" y="3086798"/>
              <a:ext cx="67818" cy="102679"/>
            </a:xfrm>
            <a:custGeom>
              <a:avLst/>
              <a:gdLst>
                <a:gd name="connsiteX0" fmla="*/ 32957 w 67818"/>
                <a:gd name="connsiteY0" fmla="*/ 84677 h 102679"/>
                <a:gd name="connsiteX1" fmla="*/ 67818 w 67818"/>
                <a:gd name="connsiteY1" fmla="*/ 102680 h 102679"/>
                <a:gd name="connsiteX2" fmla="*/ 67818 w 67818"/>
                <a:gd name="connsiteY2" fmla="*/ 15812 h 102679"/>
                <a:gd name="connsiteX3" fmla="*/ 52007 w 67818"/>
                <a:gd name="connsiteY3" fmla="*/ 0 h 102679"/>
                <a:gd name="connsiteX4" fmla="*/ 15811 w 67818"/>
                <a:gd name="connsiteY4" fmla="*/ 0 h 102679"/>
                <a:gd name="connsiteX5" fmla="*/ 0 w 67818"/>
                <a:gd name="connsiteY5" fmla="*/ 15812 h 102679"/>
                <a:gd name="connsiteX6" fmla="*/ 0 w 67818"/>
                <a:gd name="connsiteY6" fmla="*/ 100203 h 102679"/>
                <a:gd name="connsiteX7" fmla="*/ 32957 w 67818"/>
                <a:gd name="connsiteY7" fmla="*/ 84582 h 102679"/>
                <a:gd name="connsiteX8" fmla="*/ 32957 w 67818"/>
                <a:gd name="connsiteY8" fmla="*/ 84582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8" h="102679">
                  <a:moveTo>
                    <a:pt x="32957" y="84677"/>
                  </a:moveTo>
                  <a:cubicBezTo>
                    <a:pt x="47339" y="84677"/>
                    <a:pt x="60008" y="91726"/>
                    <a:pt x="67818" y="102680"/>
                  </a:cubicBezTo>
                  <a:lnTo>
                    <a:pt x="67818" y="15812"/>
                  </a:lnTo>
                  <a:cubicBezTo>
                    <a:pt x="67818" y="7049"/>
                    <a:pt x="60770" y="0"/>
                    <a:pt x="52007" y="0"/>
                  </a:cubicBezTo>
                  <a:lnTo>
                    <a:pt x="15811" y="0"/>
                  </a:lnTo>
                  <a:cubicBezTo>
                    <a:pt x="7048" y="0"/>
                    <a:pt x="0" y="7049"/>
                    <a:pt x="0" y="15812"/>
                  </a:cubicBezTo>
                  <a:lnTo>
                    <a:pt x="0" y="100203"/>
                  </a:lnTo>
                  <a:cubicBezTo>
                    <a:pt x="7906" y="90678"/>
                    <a:pt x="19717" y="84582"/>
                    <a:pt x="32957" y="84582"/>
                  </a:cubicBezTo>
                  <a:lnTo>
                    <a:pt x="32957" y="845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4617082-71D5-A5A4-4DB2-DCA8B309801E}"/>
                </a:ext>
              </a:extLst>
            </p:cNvPr>
            <p:cNvSpPr/>
            <p:nvPr/>
          </p:nvSpPr>
          <p:spPr>
            <a:xfrm>
              <a:off x="2976911" y="3191192"/>
              <a:ext cx="272129" cy="247078"/>
            </a:xfrm>
            <a:custGeom>
              <a:avLst/>
              <a:gdLst>
                <a:gd name="connsiteX0" fmla="*/ 18669 w 272129"/>
                <a:gd name="connsiteY0" fmla="*/ 206597 h 247078"/>
                <a:gd name="connsiteX1" fmla="*/ 0 w 272129"/>
                <a:gd name="connsiteY1" fmla="*/ 226790 h 247078"/>
                <a:gd name="connsiteX2" fmla="*/ 20288 w 272129"/>
                <a:gd name="connsiteY2" fmla="*/ 247079 h 247078"/>
                <a:gd name="connsiteX3" fmla="*/ 40577 w 272129"/>
                <a:gd name="connsiteY3" fmla="*/ 226790 h 247078"/>
                <a:gd name="connsiteX4" fmla="*/ 36766 w 272129"/>
                <a:gd name="connsiteY4" fmla="*/ 214979 h 247078"/>
                <a:gd name="connsiteX5" fmla="*/ 55054 w 272129"/>
                <a:gd name="connsiteY5" fmla="*/ 181261 h 247078"/>
                <a:gd name="connsiteX6" fmla="*/ 96393 w 272129"/>
                <a:gd name="connsiteY6" fmla="*/ 104965 h 247078"/>
                <a:gd name="connsiteX7" fmla="*/ 128492 w 272129"/>
                <a:gd name="connsiteY7" fmla="*/ 45720 h 247078"/>
                <a:gd name="connsiteX8" fmla="*/ 129445 w 272129"/>
                <a:gd name="connsiteY8" fmla="*/ 45720 h 247078"/>
                <a:gd name="connsiteX9" fmla="*/ 135636 w 272129"/>
                <a:gd name="connsiteY9" fmla="*/ 44863 h 247078"/>
                <a:gd name="connsiteX10" fmla="*/ 164306 w 272129"/>
                <a:gd name="connsiteY10" fmla="*/ 77248 h 247078"/>
                <a:gd name="connsiteX11" fmla="*/ 218789 w 272129"/>
                <a:gd name="connsiteY11" fmla="*/ 138875 h 247078"/>
                <a:gd name="connsiteX12" fmla="*/ 232791 w 272129"/>
                <a:gd name="connsiteY12" fmla="*/ 154686 h 247078"/>
                <a:gd name="connsiteX13" fmla="*/ 231553 w 272129"/>
                <a:gd name="connsiteY13" fmla="*/ 161544 h 247078"/>
                <a:gd name="connsiteX14" fmla="*/ 251841 w 272129"/>
                <a:gd name="connsiteY14" fmla="*/ 181832 h 247078"/>
                <a:gd name="connsiteX15" fmla="*/ 272129 w 272129"/>
                <a:gd name="connsiteY15" fmla="*/ 161544 h 247078"/>
                <a:gd name="connsiteX16" fmla="*/ 251841 w 272129"/>
                <a:gd name="connsiteY16" fmla="*/ 141256 h 247078"/>
                <a:gd name="connsiteX17" fmla="*/ 247841 w 272129"/>
                <a:gd name="connsiteY17" fmla="*/ 141637 h 247078"/>
                <a:gd name="connsiteX18" fmla="*/ 218694 w 272129"/>
                <a:gd name="connsiteY18" fmla="*/ 108680 h 247078"/>
                <a:gd name="connsiteX19" fmla="*/ 164211 w 272129"/>
                <a:gd name="connsiteY19" fmla="*/ 47053 h 247078"/>
                <a:gd name="connsiteX20" fmla="*/ 150495 w 272129"/>
                <a:gd name="connsiteY20" fmla="*/ 31528 h 247078"/>
                <a:gd name="connsiteX21" fmla="*/ 152210 w 272129"/>
                <a:gd name="connsiteY21" fmla="*/ 22860 h 247078"/>
                <a:gd name="connsiteX22" fmla="*/ 129350 w 272129"/>
                <a:gd name="connsiteY22" fmla="*/ 0 h 247078"/>
                <a:gd name="connsiteX23" fmla="*/ 106489 w 272129"/>
                <a:gd name="connsiteY23" fmla="*/ 22860 h 247078"/>
                <a:gd name="connsiteX24" fmla="*/ 110871 w 272129"/>
                <a:gd name="connsiteY24" fmla="*/ 36195 h 247078"/>
                <a:gd name="connsiteX25" fmla="*/ 96393 w 272129"/>
                <a:gd name="connsiteY25" fmla="*/ 62960 h 247078"/>
                <a:gd name="connsiteX26" fmla="*/ 55054 w 272129"/>
                <a:gd name="connsiteY26" fmla="*/ 139256 h 247078"/>
                <a:gd name="connsiteX27" fmla="*/ 18669 w 272129"/>
                <a:gd name="connsiteY27" fmla="*/ 206407 h 247078"/>
                <a:gd name="connsiteX28" fmla="*/ 18669 w 272129"/>
                <a:gd name="connsiteY28" fmla="*/ 206407 h 2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129" h="247078">
                  <a:moveTo>
                    <a:pt x="18669" y="206597"/>
                  </a:moveTo>
                  <a:cubicBezTo>
                    <a:pt x="8287" y="207455"/>
                    <a:pt x="0" y="216122"/>
                    <a:pt x="0" y="226790"/>
                  </a:cubicBezTo>
                  <a:cubicBezTo>
                    <a:pt x="0" y="238030"/>
                    <a:pt x="9049" y="247079"/>
                    <a:pt x="20288" y="247079"/>
                  </a:cubicBezTo>
                  <a:cubicBezTo>
                    <a:pt x="31528" y="247079"/>
                    <a:pt x="40577" y="238030"/>
                    <a:pt x="40577" y="226790"/>
                  </a:cubicBezTo>
                  <a:cubicBezTo>
                    <a:pt x="40577" y="222409"/>
                    <a:pt x="39148" y="218313"/>
                    <a:pt x="36766" y="214979"/>
                  </a:cubicBezTo>
                  <a:lnTo>
                    <a:pt x="55054" y="181261"/>
                  </a:lnTo>
                  <a:lnTo>
                    <a:pt x="96393" y="104965"/>
                  </a:lnTo>
                  <a:lnTo>
                    <a:pt x="128492" y="45720"/>
                  </a:lnTo>
                  <a:cubicBezTo>
                    <a:pt x="128492" y="45720"/>
                    <a:pt x="129064" y="45720"/>
                    <a:pt x="129445" y="45720"/>
                  </a:cubicBezTo>
                  <a:cubicBezTo>
                    <a:pt x="131636" y="45720"/>
                    <a:pt x="133636" y="45434"/>
                    <a:pt x="135636" y="44863"/>
                  </a:cubicBezTo>
                  <a:lnTo>
                    <a:pt x="164306" y="77248"/>
                  </a:lnTo>
                  <a:lnTo>
                    <a:pt x="218789" y="138875"/>
                  </a:lnTo>
                  <a:lnTo>
                    <a:pt x="232791" y="154686"/>
                  </a:lnTo>
                  <a:cubicBezTo>
                    <a:pt x="232029" y="156877"/>
                    <a:pt x="231553" y="159163"/>
                    <a:pt x="231553" y="161544"/>
                  </a:cubicBezTo>
                  <a:cubicBezTo>
                    <a:pt x="231553" y="172784"/>
                    <a:pt x="240602" y="181832"/>
                    <a:pt x="251841" y="181832"/>
                  </a:cubicBezTo>
                  <a:cubicBezTo>
                    <a:pt x="263081" y="181832"/>
                    <a:pt x="272129" y="172784"/>
                    <a:pt x="272129" y="161544"/>
                  </a:cubicBezTo>
                  <a:cubicBezTo>
                    <a:pt x="272129" y="150305"/>
                    <a:pt x="263081" y="141256"/>
                    <a:pt x="251841" y="141256"/>
                  </a:cubicBezTo>
                  <a:cubicBezTo>
                    <a:pt x="250507" y="141256"/>
                    <a:pt x="249174" y="141351"/>
                    <a:pt x="247841" y="141637"/>
                  </a:cubicBezTo>
                  <a:lnTo>
                    <a:pt x="218694" y="108680"/>
                  </a:lnTo>
                  <a:lnTo>
                    <a:pt x="164211" y="47053"/>
                  </a:lnTo>
                  <a:lnTo>
                    <a:pt x="150495" y="31528"/>
                  </a:lnTo>
                  <a:cubicBezTo>
                    <a:pt x="151638" y="28861"/>
                    <a:pt x="152210" y="25908"/>
                    <a:pt x="152210" y="22860"/>
                  </a:cubicBezTo>
                  <a:cubicBezTo>
                    <a:pt x="152210" y="10287"/>
                    <a:pt x="142018" y="0"/>
                    <a:pt x="129350" y="0"/>
                  </a:cubicBezTo>
                  <a:cubicBezTo>
                    <a:pt x="116681" y="0"/>
                    <a:pt x="106489" y="10192"/>
                    <a:pt x="106489" y="22860"/>
                  </a:cubicBezTo>
                  <a:cubicBezTo>
                    <a:pt x="106489" y="27908"/>
                    <a:pt x="108109" y="32480"/>
                    <a:pt x="110871" y="36195"/>
                  </a:cubicBezTo>
                  <a:lnTo>
                    <a:pt x="96393" y="62960"/>
                  </a:lnTo>
                  <a:lnTo>
                    <a:pt x="55054" y="139256"/>
                  </a:lnTo>
                  <a:lnTo>
                    <a:pt x="18669" y="206407"/>
                  </a:lnTo>
                  <a:lnTo>
                    <a:pt x="18669" y="2064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oup 174">
            <a:extLst>
              <a:ext uri="{FF2B5EF4-FFF2-40B4-BE49-F238E27FC236}">
                <a16:creationId xmlns:a16="http://schemas.microsoft.com/office/drawing/2014/main" id="{FD6C825A-8878-37CE-93D3-83100060FB39}"/>
              </a:ext>
              <a:ext uri="{C183D7F6-B498-43B3-948B-1728B52AA6E4}">
                <adec:decorative xmlns:adec="http://schemas.microsoft.com/office/drawing/2017/decorative" val="1"/>
              </a:ext>
            </a:extLst>
          </p:cNvPr>
          <p:cNvGrpSpPr/>
          <p:nvPr/>
        </p:nvGrpSpPr>
        <p:grpSpPr>
          <a:xfrm>
            <a:off x="1144965" y="1573080"/>
            <a:ext cx="660401" cy="652098"/>
            <a:chOff x="571500" y="1554161"/>
            <a:chExt cx="378809" cy="374047"/>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6" name="Freeform: Shape 55">
              <a:extLst>
                <a:ext uri="{FF2B5EF4-FFF2-40B4-BE49-F238E27FC236}">
                  <a16:creationId xmlns:a16="http://schemas.microsoft.com/office/drawing/2014/main" id="{A78D23C7-4552-E842-60E9-3C1A9996EB67}"/>
                </a:ext>
              </a:extLst>
            </p:cNvPr>
            <p:cNvSpPr/>
            <p:nvPr/>
          </p:nvSpPr>
          <p:spPr>
            <a:xfrm>
              <a:off x="615600" y="1676558"/>
              <a:ext cx="45148" cy="159257"/>
            </a:xfrm>
            <a:custGeom>
              <a:avLst/>
              <a:gdLst>
                <a:gd name="connsiteX0" fmla="*/ 40577 w 45148"/>
                <a:gd name="connsiteY0" fmla="*/ 159258 h 159257"/>
                <a:gd name="connsiteX1" fmla="*/ 45148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8" y="157163"/>
                    <a:pt x="45148" y="154496"/>
                  </a:cubicBezTo>
                  <a:lnTo>
                    <a:pt x="39910" y="4763"/>
                  </a:lnTo>
                  <a:cubicBezTo>
                    <a:pt x="39910" y="2191"/>
                    <a:pt x="37909"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06763B8-D4DD-6D29-9513-2C8F7D1D8D53}"/>
                </a:ext>
              </a:extLst>
            </p:cNvPr>
            <p:cNvSpPr/>
            <p:nvPr/>
          </p:nvSpPr>
          <p:spPr>
            <a:xfrm>
              <a:off x="697134" y="1676558"/>
              <a:ext cx="45148" cy="159257"/>
            </a:xfrm>
            <a:custGeom>
              <a:avLst/>
              <a:gdLst>
                <a:gd name="connsiteX0" fmla="*/ 40577 w 45148"/>
                <a:gd name="connsiteY0" fmla="*/ 159258 h 159257"/>
                <a:gd name="connsiteX1" fmla="*/ 45149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9" y="157163"/>
                    <a:pt x="45149" y="154496"/>
                  </a:cubicBezTo>
                  <a:lnTo>
                    <a:pt x="39910" y="4763"/>
                  </a:lnTo>
                  <a:cubicBezTo>
                    <a:pt x="39910" y="2191"/>
                    <a:pt x="37910" y="0"/>
                    <a:pt x="35338" y="0"/>
                  </a:cubicBezTo>
                  <a:lnTo>
                    <a:pt x="13430" y="0"/>
                  </a:lnTo>
                  <a:cubicBezTo>
                    <a:pt x="10859" y="0"/>
                    <a:pt x="8858" y="2095"/>
                    <a:pt x="8858" y="4763"/>
                  </a:cubicBezTo>
                  <a:lnTo>
                    <a:pt x="0" y="154496"/>
                  </a:lnTo>
                  <a:cubicBezTo>
                    <a:pt x="0" y="157163"/>
                    <a:pt x="2096"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505B7BF-19CF-136A-C32B-E3C7CDAB0D09}"/>
                </a:ext>
              </a:extLst>
            </p:cNvPr>
            <p:cNvSpPr/>
            <p:nvPr/>
          </p:nvSpPr>
          <p:spPr>
            <a:xfrm>
              <a:off x="776858"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3053" y="159258"/>
                    <a:pt x="45053" y="157163"/>
                    <a:pt x="45053" y="154496"/>
                  </a:cubicBezTo>
                  <a:lnTo>
                    <a:pt x="39910" y="4763"/>
                  </a:lnTo>
                  <a:cubicBezTo>
                    <a:pt x="39910" y="2191"/>
                    <a:pt x="37814" y="0"/>
                    <a:pt x="35338" y="0"/>
                  </a:cubicBezTo>
                  <a:lnTo>
                    <a:pt x="13430" y="0"/>
                  </a:lnTo>
                  <a:cubicBezTo>
                    <a:pt x="10859"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B938D87-9593-4B7A-71E3-8A0C475ECFF1}"/>
                </a:ext>
              </a:extLst>
            </p:cNvPr>
            <p:cNvSpPr/>
            <p:nvPr/>
          </p:nvSpPr>
          <p:spPr>
            <a:xfrm>
              <a:off x="858869"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2958" y="159258"/>
                    <a:pt x="45053" y="157163"/>
                    <a:pt x="45053" y="154496"/>
                  </a:cubicBezTo>
                  <a:lnTo>
                    <a:pt x="39910" y="4763"/>
                  </a:lnTo>
                  <a:cubicBezTo>
                    <a:pt x="39910" y="2191"/>
                    <a:pt x="37910"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E03BD3C-F838-AF29-D425-0CE6B75CCFD0}"/>
                </a:ext>
              </a:extLst>
            </p:cNvPr>
            <p:cNvSpPr/>
            <p:nvPr/>
          </p:nvSpPr>
          <p:spPr>
            <a:xfrm>
              <a:off x="571500" y="1554161"/>
              <a:ext cx="378809" cy="111728"/>
            </a:xfrm>
            <a:custGeom>
              <a:avLst/>
              <a:gdLst>
                <a:gd name="connsiteX0" fmla="*/ 5239 w 378809"/>
                <a:gd name="connsiteY0" fmla="*/ 111729 h 111728"/>
                <a:gd name="connsiteX1" fmla="*/ 373571 w 378809"/>
                <a:gd name="connsiteY1" fmla="*/ 111729 h 111728"/>
                <a:gd name="connsiteX2" fmla="*/ 378809 w 378809"/>
                <a:gd name="connsiteY2" fmla="*/ 106204 h 111728"/>
                <a:gd name="connsiteX3" fmla="*/ 197358 w 378809"/>
                <a:gd name="connsiteY3" fmla="*/ 2001 h 111728"/>
                <a:gd name="connsiteX4" fmla="*/ 178975 w 378809"/>
                <a:gd name="connsiteY4" fmla="*/ 2001 h 111728"/>
                <a:gd name="connsiteX5" fmla="*/ 0 w 378809"/>
                <a:gd name="connsiteY5" fmla="*/ 106204 h 111728"/>
                <a:gd name="connsiteX6" fmla="*/ 5239 w 378809"/>
                <a:gd name="connsiteY6" fmla="*/ 111729 h 1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809" h="111728">
                  <a:moveTo>
                    <a:pt x="5239" y="111729"/>
                  </a:moveTo>
                  <a:lnTo>
                    <a:pt x="373571" y="111729"/>
                  </a:lnTo>
                  <a:cubicBezTo>
                    <a:pt x="376428" y="111729"/>
                    <a:pt x="378809" y="110395"/>
                    <a:pt x="378809" y="106204"/>
                  </a:cubicBezTo>
                  <a:lnTo>
                    <a:pt x="197358" y="2001"/>
                  </a:lnTo>
                  <a:cubicBezTo>
                    <a:pt x="189357" y="-571"/>
                    <a:pt x="185547" y="-761"/>
                    <a:pt x="178975" y="2001"/>
                  </a:cubicBezTo>
                  <a:lnTo>
                    <a:pt x="0" y="106204"/>
                  </a:lnTo>
                  <a:cubicBezTo>
                    <a:pt x="0" y="109348"/>
                    <a:pt x="2286" y="111729"/>
                    <a:pt x="5239" y="111729"/>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5679CFD-8679-B913-AC27-2E1FAE4C56B2}"/>
                </a:ext>
              </a:extLst>
            </p:cNvPr>
            <p:cNvSpPr/>
            <p:nvPr/>
          </p:nvSpPr>
          <p:spPr>
            <a:xfrm>
              <a:off x="571500" y="1909825"/>
              <a:ext cx="378809" cy="18383"/>
            </a:xfrm>
            <a:custGeom>
              <a:avLst/>
              <a:gdLst>
                <a:gd name="connsiteX0" fmla="*/ 0 w 378809"/>
                <a:gd name="connsiteY0" fmla="*/ 0 h 18383"/>
                <a:gd name="connsiteX1" fmla="*/ 378809 w 378809"/>
                <a:gd name="connsiteY1" fmla="*/ 0 h 18383"/>
                <a:gd name="connsiteX2" fmla="*/ 378809 w 378809"/>
                <a:gd name="connsiteY2" fmla="*/ 18383 h 18383"/>
                <a:gd name="connsiteX3" fmla="*/ 0 w 378809"/>
                <a:gd name="connsiteY3" fmla="*/ 18383 h 18383"/>
              </a:gdLst>
              <a:ahLst/>
              <a:cxnLst>
                <a:cxn ang="0">
                  <a:pos x="connsiteX0" y="connsiteY0"/>
                </a:cxn>
                <a:cxn ang="0">
                  <a:pos x="connsiteX1" y="connsiteY1"/>
                </a:cxn>
                <a:cxn ang="0">
                  <a:pos x="connsiteX2" y="connsiteY2"/>
                </a:cxn>
                <a:cxn ang="0">
                  <a:pos x="connsiteX3" y="connsiteY3"/>
                </a:cxn>
              </a:cxnLst>
              <a:rect l="l" t="t" r="r" b="b"/>
              <a:pathLst>
                <a:path w="378809" h="18383">
                  <a:moveTo>
                    <a:pt x="0" y="0"/>
                  </a:moveTo>
                  <a:lnTo>
                    <a:pt x="378809" y="0"/>
                  </a:lnTo>
                  <a:lnTo>
                    <a:pt x="378809" y="18383"/>
                  </a:lnTo>
                  <a:lnTo>
                    <a:pt x="0" y="18383"/>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380FFCF-1E48-D8F7-7B84-7E37F7BFCAEB}"/>
                </a:ext>
              </a:extLst>
            </p:cNvPr>
            <p:cNvSpPr/>
            <p:nvPr/>
          </p:nvSpPr>
          <p:spPr>
            <a:xfrm>
              <a:off x="589692" y="1882298"/>
              <a:ext cx="342138" cy="16001"/>
            </a:xfrm>
            <a:custGeom>
              <a:avLst/>
              <a:gdLst>
                <a:gd name="connsiteX0" fmla="*/ 0 w 342138"/>
                <a:gd name="connsiteY0" fmla="*/ 0 h 16001"/>
                <a:gd name="connsiteX1" fmla="*/ 342138 w 342138"/>
                <a:gd name="connsiteY1" fmla="*/ 0 h 16001"/>
                <a:gd name="connsiteX2" fmla="*/ 342138 w 342138"/>
                <a:gd name="connsiteY2" fmla="*/ 16002 h 16001"/>
                <a:gd name="connsiteX3" fmla="*/ 0 w 342138"/>
                <a:gd name="connsiteY3" fmla="*/ 16002 h 16001"/>
              </a:gdLst>
              <a:ahLst/>
              <a:cxnLst>
                <a:cxn ang="0">
                  <a:pos x="connsiteX0" y="connsiteY0"/>
                </a:cxn>
                <a:cxn ang="0">
                  <a:pos x="connsiteX1" y="connsiteY1"/>
                </a:cxn>
                <a:cxn ang="0">
                  <a:pos x="connsiteX2" y="connsiteY2"/>
                </a:cxn>
                <a:cxn ang="0">
                  <a:pos x="connsiteX3" y="connsiteY3"/>
                </a:cxn>
              </a:cxnLst>
              <a:rect l="l" t="t" r="r" b="b"/>
              <a:pathLst>
                <a:path w="342138" h="16001">
                  <a:moveTo>
                    <a:pt x="0" y="0"/>
                  </a:moveTo>
                  <a:lnTo>
                    <a:pt x="342138" y="0"/>
                  </a:lnTo>
                  <a:lnTo>
                    <a:pt x="342138" y="16002"/>
                  </a:lnTo>
                  <a:lnTo>
                    <a:pt x="0" y="16002"/>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338135-A541-7EFC-E165-7A9381DEB159}"/>
                </a:ext>
              </a:extLst>
            </p:cNvPr>
            <p:cNvSpPr/>
            <p:nvPr/>
          </p:nvSpPr>
          <p:spPr>
            <a:xfrm>
              <a:off x="611600" y="1856866"/>
              <a:ext cx="298513" cy="14954"/>
            </a:xfrm>
            <a:custGeom>
              <a:avLst/>
              <a:gdLst>
                <a:gd name="connsiteX0" fmla="*/ 0 w 298513"/>
                <a:gd name="connsiteY0" fmla="*/ 0 h 14954"/>
                <a:gd name="connsiteX1" fmla="*/ 298514 w 298513"/>
                <a:gd name="connsiteY1" fmla="*/ 0 h 14954"/>
                <a:gd name="connsiteX2" fmla="*/ 298514 w 298513"/>
                <a:gd name="connsiteY2" fmla="*/ 14954 h 14954"/>
                <a:gd name="connsiteX3" fmla="*/ 0 w 298513"/>
                <a:gd name="connsiteY3" fmla="*/ 14954 h 14954"/>
              </a:gdLst>
              <a:ahLst/>
              <a:cxnLst>
                <a:cxn ang="0">
                  <a:pos x="connsiteX0" y="connsiteY0"/>
                </a:cxn>
                <a:cxn ang="0">
                  <a:pos x="connsiteX1" y="connsiteY1"/>
                </a:cxn>
                <a:cxn ang="0">
                  <a:pos x="connsiteX2" y="connsiteY2"/>
                </a:cxn>
                <a:cxn ang="0">
                  <a:pos x="connsiteX3" y="connsiteY3"/>
                </a:cxn>
              </a:cxnLst>
              <a:rect l="l" t="t" r="r" b="b"/>
              <a:pathLst>
                <a:path w="298513" h="14954">
                  <a:moveTo>
                    <a:pt x="0" y="0"/>
                  </a:moveTo>
                  <a:lnTo>
                    <a:pt x="298514" y="0"/>
                  </a:lnTo>
                  <a:lnTo>
                    <a:pt x="298514" y="14954"/>
                  </a:lnTo>
                  <a:lnTo>
                    <a:pt x="0" y="14954"/>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64E66327-C2DE-C6D6-1602-B1D2B5930F57}"/>
              </a:ext>
              <a:ext uri="{C183D7F6-B498-43B3-948B-1728B52AA6E4}">
                <adec:decorative xmlns:adec="http://schemas.microsoft.com/office/drawing/2017/decorative" val="1"/>
              </a:ext>
            </a:extLst>
          </p:cNvPr>
          <p:cNvGrpSpPr/>
          <p:nvPr/>
        </p:nvGrpSpPr>
        <p:grpSpPr>
          <a:xfrm>
            <a:off x="6314875" y="3381829"/>
            <a:ext cx="416106" cy="476216"/>
            <a:chOff x="6096000" y="3013529"/>
            <a:chExt cx="416106" cy="47621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02" name="Freeform: Shape 101">
              <a:extLst>
                <a:ext uri="{FF2B5EF4-FFF2-40B4-BE49-F238E27FC236}">
                  <a16:creationId xmlns:a16="http://schemas.microsoft.com/office/drawing/2014/main" id="{64275EB1-4411-70D8-9FB7-0D59C5DE6242}"/>
                </a:ext>
              </a:extLst>
            </p:cNvPr>
            <p:cNvSpPr/>
            <p:nvPr/>
          </p:nvSpPr>
          <p:spPr>
            <a:xfrm>
              <a:off x="6200723" y="3304264"/>
              <a:ext cx="199648" cy="185481"/>
            </a:xfrm>
            <a:custGeom>
              <a:avLst/>
              <a:gdLst>
                <a:gd name="connsiteX0" fmla="*/ 141827 w 199648"/>
                <a:gd name="connsiteY0" fmla="*/ 44544 h 185481"/>
                <a:gd name="connsiteX1" fmla="*/ 149730 w 199648"/>
                <a:gd name="connsiteY1" fmla="*/ 28379 h 185481"/>
                <a:gd name="connsiteX2" fmla="*/ 149730 w 199648"/>
                <a:gd name="connsiteY2" fmla="*/ 20835 h 185481"/>
                <a:gd name="connsiteX3" fmla="*/ 128775 w 199648"/>
                <a:gd name="connsiteY3" fmla="*/ 0 h 185481"/>
                <a:gd name="connsiteX4" fmla="*/ 78004 w 199648"/>
                <a:gd name="connsiteY4" fmla="*/ 0 h 185481"/>
                <a:gd name="connsiteX5" fmla="*/ 57169 w 199648"/>
                <a:gd name="connsiteY5" fmla="*/ 20835 h 185481"/>
                <a:gd name="connsiteX6" fmla="*/ 57169 w 199648"/>
                <a:gd name="connsiteY6" fmla="*/ 28379 h 185481"/>
                <a:gd name="connsiteX7" fmla="*/ 60642 w 199648"/>
                <a:gd name="connsiteY7" fmla="*/ 39994 h 185481"/>
                <a:gd name="connsiteX8" fmla="*/ 1968 w 199648"/>
                <a:gd name="connsiteY8" fmla="*/ 135429 h 185481"/>
                <a:gd name="connsiteX9" fmla="*/ 6398 w 199648"/>
                <a:gd name="connsiteY9" fmla="*/ 153989 h 185481"/>
                <a:gd name="connsiteX10" fmla="*/ 13463 w 199648"/>
                <a:gd name="connsiteY10" fmla="*/ 156025 h 185481"/>
                <a:gd name="connsiteX11" fmla="*/ 24958 w 199648"/>
                <a:gd name="connsiteY11" fmla="*/ 149559 h 185481"/>
                <a:gd name="connsiteX12" fmla="*/ 86506 w 199648"/>
                <a:gd name="connsiteY12" fmla="*/ 49334 h 185481"/>
                <a:gd name="connsiteX13" fmla="*/ 89979 w 199648"/>
                <a:gd name="connsiteY13" fmla="*/ 49334 h 185481"/>
                <a:gd name="connsiteX14" fmla="*/ 89979 w 199648"/>
                <a:gd name="connsiteY14" fmla="*/ 172070 h 185481"/>
                <a:gd name="connsiteX15" fmla="*/ 103390 w 199648"/>
                <a:gd name="connsiteY15" fmla="*/ 185482 h 185481"/>
                <a:gd name="connsiteX16" fmla="*/ 116801 w 199648"/>
                <a:gd name="connsiteY16" fmla="*/ 172070 h 185481"/>
                <a:gd name="connsiteX17" fmla="*/ 116801 w 199648"/>
                <a:gd name="connsiteY17" fmla="*/ 55441 h 185481"/>
                <a:gd name="connsiteX18" fmla="*/ 174637 w 199648"/>
                <a:gd name="connsiteY18" fmla="*/ 149559 h 185481"/>
                <a:gd name="connsiteX19" fmla="*/ 186132 w 199648"/>
                <a:gd name="connsiteY19" fmla="*/ 156025 h 185481"/>
                <a:gd name="connsiteX20" fmla="*/ 193197 w 199648"/>
                <a:gd name="connsiteY20" fmla="*/ 153989 h 185481"/>
                <a:gd name="connsiteX21" fmla="*/ 197628 w 199648"/>
                <a:gd name="connsiteY21" fmla="*/ 135429 h 185481"/>
                <a:gd name="connsiteX22" fmla="*/ 141827 w 199648"/>
                <a:gd name="connsiteY22" fmla="*/ 44544 h 185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9648" h="185481">
                  <a:moveTo>
                    <a:pt x="141827" y="44544"/>
                  </a:moveTo>
                  <a:cubicBezTo>
                    <a:pt x="146617" y="40713"/>
                    <a:pt x="149730" y="34965"/>
                    <a:pt x="149730" y="28379"/>
                  </a:cubicBezTo>
                  <a:lnTo>
                    <a:pt x="149730" y="20835"/>
                  </a:lnTo>
                  <a:cubicBezTo>
                    <a:pt x="149730" y="9340"/>
                    <a:pt x="140271" y="0"/>
                    <a:pt x="128775" y="0"/>
                  </a:cubicBezTo>
                  <a:lnTo>
                    <a:pt x="78004" y="0"/>
                  </a:lnTo>
                  <a:cubicBezTo>
                    <a:pt x="66509" y="0"/>
                    <a:pt x="57169" y="9340"/>
                    <a:pt x="57169" y="20835"/>
                  </a:cubicBezTo>
                  <a:lnTo>
                    <a:pt x="57169" y="28379"/>
                  </a:lnTo>
                  <a:cubicBezTo>
                    <a:pt x="57169" y="32690"/>
                    <a:pt x="58486" y="36641"/>
                    <a:pt x="60642" y="39994"/>
                  </a:cubicBezTo>
                  <a:lnTo>
                    <a:pt x="1968" y="135429"/>
                  </a:lnTo>
                  <a:cubicBezTo>
                    <a:pt x="-1864" y="141775"/>
                    <a:pt x="52" y="150038"/>
                    <a:pt x="6398" y="153989"/>
                  </a:cubicBezTo>
                  <a:cubicBezTo>
                    <a:pt x="8554" y="155306"/>
                    <a:pt x="10948" y="156025"/>
                    <a:pt x="13463" y="156025"/>
                  </a:cubicBezTo>
                  <a:cubicBezTo>
                    <a:pt x="18013" y="156025"/>
                    <a:pt x="22444" y="153750"/>
                    <a:pt x="24958" y="149559"/>
                  </a:cubicBezTo>
                  <a:lnTo>
                    <a:pt x="86506" y="49334"/>
                  </a:lnTo>
                  <a:lnTo>
                    <a:pt x="89979" y="49334"/>
                  </a:lnTo>
                  <a:lnTo>
                    <a:pt x="89979" y="172070"/>
                  </a:lnTo>
                  <a:cubicBezTo>
                    <a:pt x="89979" y="179494"/>
                    <a:pt x="96086" y="185482"/>
                    <a:pt x="103390" y="185482"/>
                  </a:cubicBezTo>
                  <a:cubicBezTo>
                    <a:pt x="110694" y="185482"/>
                    <a:pt x="116801" y="179494"/>
                    <a:pt x="116801" y="172070"/>
                  </a:cubicBezTo>
                  <a:lnTo>
                    <a:pt x="116801" y="55441"/>
                  </a:lnTo>
                  <a:lnTo>
                    <a:pt x="174637" y="149559"/>
                  </a:lnTo>
                  <a:cubicBezTo>
                    <a:pt x="177152" y="153750"/>
                    <a:pt x="181582" y="156025"/>
                    <a:pt x="186132" y="156025"/>
                  </a:cubicBezTo>
                  <a:cubicBezTo>
                    <a:pt x="188527" y="156025"/>
                    <a:pt x="190922" y="155306"/>
                    <a:pt x="193197" y="153989"/>
                  </a:cubicBezTo>
                  <a:cubicBezTo>
                    <a:pt x="199543" y="150157"/>
                    <a:pt x="201579" y="141775"/>
                    <a:pt x="197628" y="135429"/>
                  </a:cubicBezTo>
                  <a:lnTo>
                    <a:pt x="141827" y="44544"/>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734B597-3E00-9773-C655-B78C24C0EF0B}"/>
                </a:ext>
              </a:extLst>
            </p:cNvPr>
            <p:cNvSpPr/>
            <p:nvPr/>
          </p:nvSpPr>
          <p:spPr>
            <a:xfrm>
              <a:off x="6096000" y="3013529"/>
              <a:ext cx="416106" cy="266906"/>
            </a:xfrm>
            <a:custGeom>
              <a:avLst/>
              <a:gdLst>
                <a:gd name="connsiteX0" fmla="*/ 0 w 416106"/>
                <a:gd name="connsiteY0" fmla="*/ 0 h 266906"/>
                <a:gd name="connsiteX1" fmla="*/ 0 w 416106"/>
                <a:gd name="connsiteY1" fmla="*/ 250741 h 266906"/>
                <a:gd name="connsiteX2" fmla="*/ 16165 w 416106"/>
                <a:gd name="connsiteY2" fmla="*/ 266907 h 266906"/>
                <a:gd name="connsiteX3" fmla="*/ 399941 w 416106"/>
                <a:gd name="connsiteY3" fmla="*/ 266907 h 266906"/>
                <a:gd name="connsiteX4" fmla="*/ 416106 w 416106"/>
                <a:gd name="connsiteY4" fmla="*/ 250741 h 266906"/>
                <a:gd name="connsiteX5" fmla="*/ 416106 w 416106"/>
                <a:gd name="connsiteY5" fmla="*/ 0 h 266906"/>
                <a:gd name="connsiteX6" fmla="*/ 0 w 416106"/>
                <a:gd name="connsiteY6" fmla="*/ 0 h 266906"/>
                <a:gd name="connsiteX7" fmla="*/ 146206 w 416106"/>
                <a:gd name="connsiteY7" fmla="*/ 242958 h 266906"/>
                <a:gd name="connsiteX8" fmla="*/ 105853 w 416106"/>
                <a:gd name="connsiteY8" fmla="*/ 242958 h 266906"/>
                <a:gd name="connsiteX9" fmla="*/ 105853 w 416106"/>
                <a:gd name="connsiteY9" fmla="*/ 190391 h 266906"/>
                <a:gd name="connsiteX10" fmla="*/ 146206 w 416106"/>
                <a:gd name="connsiteY10" fmla="*/ 190391 h 266906"/>
                <a:gd name="connsiteX11" fmla="*/ 146206 w 416106"/>
                <a:gd name="connsiteY11" fmla="*/ 242958 h 266906"/>
                <a:gd name="connsiteX12" fmla="*/ 203204 w 416106"/>
                <a:gd name="connsiteY12" fmla="*/ 242958 h 266906"/>
                <a:gd name="connsiteX13" fmla="*/ 162850 w 416106"/>
                <a:gd name="connsiteY13" fmla="*/ 242958 h 266906"/>
                <a:gd name="connsiteX14" fmla="*/ 162850 w 416106"/>
                <a:gd name="connsiteY14" fmla="*/ 153390 h 266906"/>
                <a:gd name="connsiteX15" fmla="*/ 203204 w 416106"/>
                <a:gd name="connsiteY15" fmla="*/ 153390 h 266906"/>
                <a:gd name="connsiteX16" fmla="*/ 203204 w 416106"/>
                <a:gd name="connsiteY16" fmla="*/ 242958 h 266906"/>
                <a:gd name="connsiteX17" fmla="*/ 182368 w 416106"/>
                <a:gd name="connsiteY17" fmla="*/ 113516 h 266906"/>
                <a:gd name="connsiteX18" fmla="*/ 123694 w 416106"/>
                <a:gd name="connsiteY18" fmla="*/ 171591 h 266906"/>
                <a:gd name="connsiteX19" fmla="*/ 99746 w 416106"/>
                <a:gd name="connsiteY19" fmla="*/ 148242 h 266906"/>
                <a:gd name="connsiteX20" fmla="*/ 180931 w 416106"/>
                <a:gd name="connsiteY20" fmla="*/ 67774 h 266906"/>
                <a:gd name="connsiteX21" fmla="*/ 211466 w 416106"/>
                <a:gd name="connsiteY21" fmla="*/ 97471 h 266906"/>
                <a:gd name="connsiteX22" fmla="*/ 256250 w 416106"/>
                <a:gd name="connsiteY22" fmla="*/ 52567 h 266906"/>
                <a:gd name="connsiteX23" fmla="*/ 237211 w 416106"/>
                <a:gd name="connsiteY23" fmla="*/ 34127 h 266906"/>
                <a:gd name="connsiteX24" fmla="*/ 310254 w 416106"/>
                <a:gd name="connsiteY24" fmla="*/ 16764 h 266906"/>
                <a:gd name="connsiteX25" fmla="*/ 298878 w 416106"/>
                <a:gd name="connsiteY25" fmla="*/ 90526 h 266906"/>
                <a:gd name="connsiteX26" fmla="*/ 282713 w 416106"/>
                <a:gd name="connsiteY26" fmla="*/ 75438 h 266906"/>
                <a:gd name="connsiteX27" fmla="*/ 213621 w 416106"/>
                <a:gd name="connsiteY27" fmla="*/ 143931 h 266906"/>
                <a:gd name="connsiteX28" fmla="*/ 182488 w 416106"/>
                <a:gd name="connsiteY28" fmla="*/ 113636 h 266906"/>
                <a:gd name="connsiteX29" fmla="*/ 260321 w 416106"/>
                <a:gd name="connsiteY29" fmla="*/ 242958 h 266906"/>
                <a:gd name="connsiteX30" fmla="*/ 219968 w 416106"/>
                <a:gd name="connsiteY30" fmla="*/ 242958 h 266906"/>
                <a:gd name="connsiteX31" fmla="*/ 219968 w 416106"/>
                <a:gd name="connsiteY31" fmla="*/ 178417 h 266906"/>
                <a:gd name="connsiteX32" fmla="*/ 260321 w 416106"/>
                <a:gd name="connsiteY32" fmla="*/ 178417 h 266906"/>
                <a:gd name="connsiteX33" fmla="*/ 260321 w 416106"/>
                <a:gd name="connsiteY33" fmla="*/ 242958 h 266906"/>
                <a:gd name="connsiteX34" fmla="*/ 316480 w 416106"/>
                <a:gd name="connsiteY34" fmla="*/ 242958 h 266906"/>
                <a:gd name="connsiteX35" fmla="*/ 276127 w 416106"/>
                <a:gd name="connsiteY35" fmla="*/ 242958 h 266906"/>
                <a:gd name="connsiteX36" fmla="*/ 276127 w 416106"/>
                <a:gd name="connsiteY36" fmla="*/ 106930 h 266906"/>
                <a:gd name="connsiteX37" fmla="*/ 316480 w 416106"/>
                <a:gd name="connsiteY37" fmla="*/ 106930 h 266906"/>
                <a:gd name="connsiteX38" fmla="*/ 316480 w 416106"/>
                <a:gd name="connsiteY38" fmla="*/ 242958 h 26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6106" h="266906">
                  <a:moveTo>
                    <a:pt x="0" y="0"/>
                  </a:moveTo>
                  <a:lnTo>
                    <a:pt x="0" y="250741"/>
                  </a:lnTo>
                  <a:cubicBezTo>
                    <a:pt x="0" y="259722"/>
                    <a:pt x="7304" y="266907"/>
                    <a:pt x="16165" y="266907"/>
                  </a:cubicBezTo>
                  <a:lnTo>
                    <a:pt x="399941" y="266907"/>
                  </a:lnTo>
                  <a:cubicBezTo>
                    <a:pt x="408922" y="266907"/>
                    <a:pt x="416106" y="259722"/>
                    <a:pt x="416106" y="250741"/>
                  </a:cubicBezTo>
                  <a:lnTo>
                    <a:pt x="416106" y="0"/>
                  </a:lnTo>
                  <a:lnTo>
                    <a:pt x="0" y="0"/>
                  </a:lnTo>
                  <a:close/>
                  <a:moveTo>
                    <a:pt x="146206" y="242958"/>
                  </a:moveTo>
                  <a:lnTo>
                    <a:pt x="105853" y="242958"/>
                  </a:lnTo>
                  <a:lnTo>
                    <a:pt x="105853" y="190391"/>
                  </a:lnTo>
                  <a:lnTo>
                    <a:pt x="146206" y="190391"/>
                  </a:lnTo>
                  <a:lnTo>
                    <a:pt x="146206" y="242958"/>
                  </a:lnTo>
                  <a:close/>
                  <a:moveTo>
                    <a:pt x="203204" y="242958"/>
                  </a:moveTo>
                  <a:lnTo>
                    <a:pt x="162850" y="242958"/>
                  </a:lnTo>
                  <a:lnTo>
                    <a:pt x="162850" y="153390"/>
                  </a:lnTo>
                  <a:lnTo>
                    <a:pt x="203204" y="153390"/>
                  </a:lnTo>
                  <a:lnTo>
                    <a:pt x="203204" y="242958"/>
                  </a:lnTo>
                  <a:close/>
                  <a:moveTo>
                    <a:pt x="182368" y="113516"/>
                  </a:moveTo>
                  <a:lnTo>
                    <a:pt x="123694" y="171591"/>
                  </a:lnTo>
                  <a:lnTo>
                    <a:pt x="99746" y="148242"/>
                  </a:lnTo>
                  <a:lnTo>
                    <a:pt x="180931" y="67774"/>
                  </a:lnTo>
                  <a:lnTo>
                    <a:pt x="211466" y="97471"/>
                  </a:lnTo>
                  <a:lnTo>
                    <a:pt x="256250" y="52567"/>
                  </a:lnTo>
                  <a:lnTo>
                    <a:pt x="237211" y="34127"/>
                  </a:lnTo>
                  <a:lnTo>
                    <a:pt x="310254" y="16764"/>
                  </a:lnTo>
                  <a:lnTo>
                    <a:pt x="298878" y="90526"/>
                  </a:lnTo>
                  <a:lnTo>
                    <a:pt x="282713" y="75438"/>
                  </a:lnTo>
                  <a:lnTo>
                    <a:pt x="213621" y="143931"/>
                  </a:lnTo>
                  <a:lnTo>
                    <a:pt x="182488" y="113636"/>
                  </a:lnTo>
                  <a:close/>
                  <a:moveTo>
                    <a:pt x="260321" y="242958"/>
                  </a:moveTo>
                  <a:lnTo>
                    <a:pt x="219968" y="242958"/>
                  </a:lnTo>
                  <a:lnTo>
                    <a:pt x="219968" y="178417"/>
                  </a:lnTo>
                  <a:lnTo>
                    <a:pt x="260321" y="178417"/>
                  </a:lnTo>
                  <a:lnTo>
                    <a:pt x="260321" y="242958"/>
                  </a:lnTo>
                  <a:close/>
                  <a:moveTo>
                    <a:pt x="316480" y="242958"/>
                  </a:moveTo>
                  <a:lnTo>
                    <a:pt x="276127" y="242958"/>
                  </a:lnTo>
                  <a:lnTo>
                    <a:pt x="276127" y="106930"/>
                  </a:lnTo>
                  <a:lnTo>
                    <a:pt x="316480" y="106930"/>
                  </a:lnTo>
                  <a:lnTo>
                    <a:pt x="316480" y="242958"/>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aphic 23">
            <a:extLst>
              <a:ext uri="{FF2B5EF4-FFF2-40B4-BE49-F238E27FC236}">
                <a16:creationId xmlns:a16="http://schemas.microsoft.com/office/drawing/2014/main" id="{39491347-68E7-08AA-C7A8-F8D2883049D8}"/>
              </a:ext>
              <a:ext uri="{C183D7F6-B498-43B3-948B-1728B52AA6E4}">
                <adec:decorative xmlns:adec="http://schemas.microsoft.com/office/drawing/2017/decorative" val="1"/>
              </a:ext>
            </a:extLst>
          </p:cNvPr>
          <p:cNvGrpSpPr/>
          <p:nvPr/>
        </p:nvGrpSpPr>
        <p:grpSpPr>
          <a:xfrm>
            <a:off x="3166475" y="4935537"/>
            <a:ext cx="417099" cy="461867"/>
            <a:chOff x="2913063" y="4859337"/>
            <a:chExt cx="417099" cy="461867"/>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46" name="Freeform: Shape 145">
              <a:extLst>
                <a:ext uri="{FF2B5EF4-FFF2-40B4-BE49-F238E27FC236}">
                  <a16:creationId xmlns:a16="http://schemas.microsoft.com/office/drawing/2014/main" id="{13B550C5-75A0-C5FF-CAB9-CAB9D5A004DB}"/>
                </a:ext>
              </a:extLst>
            </p:cNvPr>
            <p:cNvSpPr/>
            <p:nvPr/>
          </p:nvSpPr>
          <p:spPr>
            <a:xfrm>
              <a:off x="2913063" y="5113559"/>
              <a:ext cx="207742" cy="207645"/>
            </a:xfrm>
            <a:custGeom>
              <a:avLst/>
              <a:gdLst>
                <a:gd name="connsiteX0" fmla="*/ 114681 w 207742"/>
                <a:gd name="connsiteY0" fmla="*/ 122491 h 207645"/>
                <a:gd name="connsiteX1" fmla="*/ 93440 w 207742"/>
                <a:gd name="connsiteY1" fmla="*/ 122682 h 207645"/>
                <a:gd name="connsiteX2" fmla="*/ 82677 w 207742"/>
                <a:gd name="connsiteY2" fmla="*/ 104394 h 207645"/>
                <a:gd name="connsiteX3" fmla="*/ 93155 w 207742"/>
                <a:gd name="connsiteY3" fmla="*/ 85915 h 207645"/>
                <a:gd name="connsiteX4" fmla="*/ 114395 w 207742"/>
                <a:gd name="connsiteY4" fmla="*/ 85725 h 207645"/>
                <a:gd name="connsiteX5" fmla="*/ 125159 w 207742"/>
                <a:gd name="connsiteY5" fmla="*/ 104013 h 207645"/>
                <a:gd name="connsiteX6" fmla="*/ 114681 w 207742"/>
                <a:gd name="connsiteY6" fmla="*/ 122491 h 207645"/>
                <a:gd name="connsiteX7" fmla="*/ 114681 w 207742"/>
                <a:gd name="connsiteY7" fmla="*/ 122491 h 207645"/>
                <a:gd name="connsiteX8" fmla="*/ 187643 w 207742"/>
                <a:gd name="connsiteY8" fmla="*/ 129445 h 207645"/>
                <a:gd name="connsiteX9" fmla="*/ 193739 w 207742"/>
                <a:gd name="connsiteY9" fmla="*/ 124968 h 207645"/>
                <a:gd name="connsiteX10" fmla="*/ 201359 w 207742"/>
                <a:gd name="connsiteY10" fmla="*/ 124968 h 207645"/>
                <a:gd name="connsiteX11" fmla="*/ 207740 w 207742"/>
                <a:gd name="connsiteY11" fmla="*/ 118682 h 207645"/>
                <a:gd name="connsiteX12" fmla="*/ 207740 w 207742"/>
                <a:gd name="connsiteY12" fmla="*/ 90107 h 207645"/>
                <a:gd name="connsiteX13" fmla="*/ 201549 w 207742"/>
                <a:gd name="connsiteY13" fmla="*/ 83725 h 207645"/>
                <a:gd name="connsiteX14" fmla="*/ 193929 w 207742"/>
                <a:gd name="connsiteY14" fmla="*/ 83725 h 207645"/>
                <a:gd name="connsiteX15" fmla="*/ 187833 w 207742"/>
                <a:gd name="connsiteY15" fmla="*/ 79153 h 207645"/>
                <a:gd name="connsiteX16" fmla="*/ 181070 w 207742"/>
                <a:gd name="connsiteY16" fmla="*/ 62579 h 207645"/>
                <a:gd name="connsiteX17" fmla="*/ 182213 w 207742"/>
                <a:gd name="connsiteY17" fmla="*/ 55055 h 207645"/>
                <a:gd name="connsiteX18" fmla="*/ 187643 w 207742"/>
                <a:gd name="connsiteY18" fmla="*/ 49720 h 207645"/>
                <a:gd name="connsiteX19" fmla="*/ 187643 w 207742"/>
                <a:gd name="connsiteY19" fmla="*/ 40767 h 207645"/>
                <a:gd name="connsiteX20" fmla="*/ 167545 w 207742"/>
                <a:gd name="connsiteY20" fmla="*/ 20574 h 207645"/>
                <a:gd name="connsiteX21" fmla="*/ 158591 w 207742"/>
                <a:gd name="connsiteY21" fmla="*/ 20574 h 207645"/>
                <a:gd name="connsiteX22" fmla="*/ 153162 w 207742"/>
                <a:gd name="connsiteY22" fmla="*/ 25908 h 207645"/>
                <a:gd name="connsiteX23" fmla="*/ 145637 w 207742"/>
                <a:gd name="connsiteY23" fmla="*/ 26956 h 207645"/>
                <a:gd name="connsiteX24" fmla="*/ 129159 w 207742"/>
                <a:gd name="connsiteY24" fmla="*/ 20098 h 207645"/>
                <a:gd name="connsiteX25" fmla="*/ 124682 w 207742"/>
                <a:gd name="connsiteY25" fmla="*/ 14002 h 207645"/>
                <a:gd name="connsiteX26" fmla="*/ 124682 w 207742"/>
                <a:gd name="connsiteY26" fmla="*/ 6382 h 207645"/>
                <a:gd name="connsiteX27" fmla="*/ 118301 w 207742"/>
                <a:gd name="connsiteY27" fmla="*/ 0 h 207645"/>
                <a:gd name="connsiteX28" fmla="*/ 89726 w 207742"/>
                <a:gd name="connsiteY28" fmla="*/ 0 h 207645"/>
                <a:gd name="connsiteX29" fmla="*/ 83344 w 207742"/>
                <a:gd name="connsiteY29" fmla="*/ 6382 h 207645"/>
                <a:gd name="connsiteX30" fmla="*/ 83344 w 207742"/>
                <a:gd name="connsiteY30" fmla="*/ 14002 h 207645"/>
                <a:gd name="connsiteX31" fmla="*/ 78867 w 207742"/>
                <a:gd name="connsiteY31" fmla="*/ 20098 h 207645"/>
                <a:gd name="connsiteX32" fmla="*/ 63627 w 207742"/>
                <a:gd name="connsiteY32" fmla="*/ 26289 h 207645"/>
                <a:gd name="connsiteX33" fmla="*/ 56102 w 207742"/>
                <a:gd name="connsiteY33" fmla="*/ 25051 h 207645"/>
                <a:gd name="connsiteX34" fmla="*/ 50768 w 207742"/>
                <a:gd name="connsiteY34" fmla="*/ 19621 h 207645"/>
                <a:gd name="connsiteX35" fmla="*/ 41815 w 207742"/>
                <a:gd name="connsiteY35" fmla="*/ 19526 h 207645"/>
                <a:gd name="connsiteX36" fmla="*/ 21336 w 207742"/>
                <a:gd name="connsiteY36" fmla="*/ 39433 h 207645"/>
                <a:gd name="connsiteX37" fmla="*/ 21241 w 207742"/>
                <a:gd name="connsiteY37" fmla="*/ 48387 h 207645"/>
                <a:gd name="connsiteX38" fmla="*/ 26575 w 207742"/>
                <a:gd name="connsiteY38" fmla="*/ 53816 h 207645"/>
                <a:gd name="connsiteX39" fmla="*/ 27527 w 207742"/>
                <a:gd name="connsiteY39" fmla="*/ 61341 h 207645"/>
                <a:gd name="connsiteX40" fmla="*/ 20479 w 207742"/>
                <a:gd name="connsiteY40" fmla="*/ 77724 h 207645"/>
                <a:gd name="connsiteX41" fmla="*/ 14383 w 207742"/>
                <a:gd name="connsiteY41" fmla="*/ 82201 h 207645"/>
                <a:gd name="connsiteX42" fmla="*/ 6763 w 207742"/>
                <a:gd name="connsiteY42" fmla="*/ 82201 h 207645"/>
                <a:gd name="connsiteX43" fmla="*/ 381 w 207742"/>
                <a:gd name="connsiteY43" fmla="*/ 88392 h 207645"/>
                <a:gd name="connsiteX44" fmla="*/ 0 w 207742"/>
                <a:gd name="connsiteY44" fmla="*/ 116967 h 207645"/>
                <a:gd name="connsiteX45" fmla="*/ 6287 w 207742"/>
                <a:gd name="connsiteY45" fmla="*/ 123349 h 207645"/>
                <a:gd name="connsiteX46" fmla="*/ 13907 w 207742"/>
                <a:gd name="connsiteY46" fmla="*/ 123349 h 207645"/>
                <a:gd name="connsiteX47" fmla="*/ 19907 w 207742"/>
                <a:gd name="connsiteY47" fmla="*/ 128016 h 207645"/>
                <a:gd name="connsiteX48" fmla="*/ 26575 w 207742"/>
                <a:gd name="connsiteY48" fmla="*/ 144589 h 207645"/>
                <a:gd name="connsiteX49" fmla="*/ 25432 w 207742"/>
                <a:gd name="connsiteY49" fmla="*/ 152019 h 207645"/>
                <a:gd name="connsiteX50" fmla="*/ 20003 w 207742"/>
                <a:gd name="connsiteY50" fmla="*/ 157353 h 207645"/>
                <a:gd name="connsiteX51" fmla="*/ 19907 w 207742"/>
                <a:gd name="connsiteY51" fmla="*/ 166307 h 207645"/>
                <a:gd name="connsiteX52" fmla="*/ 39910 w 207742"/>
                <a:gd name="connsiteY52" fmla="*/ 186690 h 207645"/>
                <a:gd name="connsiteX53" fmla="*/ 48863 w 207742"/>
                <a:gd name="connsiteY53" fmla="*/ 186690 h 207645"/>
                <a:gd name="connsiteX54" fmla="*/ 54293 w 207742"/>
                <a:gd name="connsiteY54" fmla="*/ 181356 h 207645"/>
                <a:gd name="connsiteX55" fmla="*/ 61817 w 207742"/>
                <a:gd name="connsiteY55" fmla="*/ 180308 h 207645"/>
                <a:gd name="connsiteX56" fmla="*/ 78296 w 207742"/>
                <a:gd name="connsiteY56" fmla="*/ 187261 h 207645"/>
                <a:gd name="connsiteX57" fmla="*/ 82772 w 207742"/>
                <a:gd name="connsiteY57" fmla="*/ 193358 h 207645"/>
                <a:gd name="connsiteX58" fmla="*/ 82772 w 207742"/>
                <a:gd name="connsiteY58" fmla="*/ 200978 h 207645"/>
                <a:gd name="connsiteX59" fmla="*/ 88964 w 207742"/>
                <a:gd name="connsiteY59" fmla="*/ 207359 h 207645"/>
                <a:gd name="connsiteX60" fmla="*/ 117539 w 207742"/>
                <a:gd name="connsiteY60" fmla="*/ 207645 h 207645"/>
                <a:gd name="connsiteX61" fmla="*/ 123920 w 207742"/>
                <a:gd name="connsiteY61" fmla="*/ 201359 h 207645"/>
                <a:gd name="connsiteX62" fmla="*/ 123920 w 207742"/>
                <a:gd name="connsiteY62" fmla="*/ 193738 h 207645"/>
                <a:gd name="connsiteX63" fmla="*/ 128588 w 207742"/>
                <a:gd name="connsiteY63" fmla="*/ 187738 h 207645"/>
                <a:gd name="connsiteX64" fmla="*/ 145161 w 207742"/>
                <a:gd name="connsiteY64" fmla="*/ 180975 h 207645"/>
                <a:gd name="connsiteX65" fmla="*/ 152686 w 207742"/>
                <a:gd name="connsiteY65" fmla="*/ 182118 h 207645"/>
                <a:gd name="connsiteX66" fmla="*/ 158020 w 207742"/>
                <a:gd name="connsiteY66" fmla="*/ 187547 h 207645"/>
                <a:gd name="connsiteX67" fmla="*/ 166973 w 207742"/>
                <a:gd name="connsiteY67" fmla="*/ 187547 h 207645"/>
                <a:gd name="connsiteX68" fmla="*/ 187262 w 207742"/>
                <a:gd name="connsiteY68" fmla="*/ 167450 h 207645"/>
                <a:gd name="connsiteX69" fmla="*/ 187262 w 207742"/>
                <a:gd name="connsiteY69" fmla="*/ 158496 h 207645"/>
                <a:gd name="connsiteX70" fmla="*/ 181928 w 207742"/>
                <a:gd name="connsiteY70" fmla="*/ 153067 h 207645"/>
                <a:gd name="connsiteX71" fmla="*/ 180880 w 207742"/>
                <a:gd name="connsiteY71" fmla="*/ 145542 h 207645"/>
                <a:gd name="connsiteX72" fmla="*/ 187833 w 207742"/>
                <a:gd name="connsiteY72" fmla="*/ 129064 h 207645"/>
                <a:gd name="connsiteX73" fmla="*/ 187833 w 207742"/>
                <a:gd name="connsiteY73" fmla="*/ 129064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07742" h="207645">
                  <a:moveTo>
                    <a:pt x="114681" y="122491"/>
                  </a:moveTo>
                  <a:lnTo>
                    <a:pt x="93440" y="122682"/>
                  </a:lnTo>
                  <a:lnTo>
                    <a:pt x="82677" y="104394"/>
                  </a:lnTo>
                  <a:lnTo>
                    <a:pt x="93155" y="85915"/>
                  </a:lnTo>
                  <a:lnTo>
                    <a:pt x="114395" y="85725"/>
                  </a:lnTo>
                  <a:lnTo>
                    <a:pt x="125159" y="104013"/>
                  </a:lnTo>
                  <a:lnTo>
                    <a:pt x="114681" y="122491"/>
                  </a:lnTo>
                  <a:lnTo>
                    <a:pt x="114681" y="122491"/>
                  </a:lnTo>
                  <a:close/>
                  <a:moveTo>
                    <a:pt x="187643" y="129445"/>
                  </a:moveTo>
                  <a:cubicBezTo>
                    <a:pt x="188500" y="126778"/>
                    <a:pt x="190976" y="124968"/>
                    <a:pt x="193739" y="124968"/>
                  </a:cubicBezTo>
                  <a:lnTo>
                    <a:pt x="201359" y="124968"/>
                  </a:lnTo>
                  <a:cubicBezTo>
                    <a:pt x="204883" y="124968"/>
                    <a:pt x="207740" y="122206"/>
                    <a:pt x="207740" y="118682"/>
                  </a:cubicBezTo>
                  <a:lnTo>
                    <a:pt x="207740" y="90107"/>
                  </a:lnTo>
                  <a:cubicBezTo>
                    <a:pt x="207836" y="86582"/>
                    <a:pt x="205073" y="83725"/>
                    <a:pt x="201549" y="83725"/>
                  </a:cubicBezTo>
                  <a:lnTo>
                    <a:pt x="193929" y="83725"/>
                  </a:lnTo>
                  <a:cubicBezTo>
                    <a:pt x="191167" y="83725"/>
                    <a:pt x="188690" y="81820"/>
                    <a:pt x="187833" y="79153"/>
                  </a:cubicBezTo>
                  <a:cubicBezTo>
                    <a:pt x="186119" y="73342"/>
                    <a:pt x="183833" y="67818"/>
                    <a:pt x="181070" y="62579"/>
                  </a:cubicBezTo>
                  <a:cubicBezTo>
                    <a:pt x="179737" y="60103"/>
                    <a:pt x="180213" y="57055"/>
                    <a:pt x="182213" y="55055"/>
                  </a:cubicBezTo>
                  <a:lnTo>
                    <a:pt x="187643" y="49720"/>
                  </a:lnTo>
                  <a:cubicBezTo>
                    <a:pt x="190119" y="47244"/>
                    <a:pt x="190119" y="43243"/>
                    <a:pt x="187643" y="40767"/>
                  </a:cubicBezTo>
                  <a:lnTo>
                    <a:pt x="167545" y="20574"/>
                  </a:lnTo>
                  <a:cubicBezTo>
                    <a:pt x="165068" y="18097"/>
                    <a:pt x="161068" y="18097"/>
                    <a:pt x="158591" y="20574"/>
                  </a:cubicBezTo>
                  <a:lnTo>
                    <a:pt x="153162" y="25908"/>
                  </a:lnTo>
                  <a:cubicBezTo>
                    <a:pt x="151162" y="27908"/>
                    <a:pt x="148114" y="28289"/>
                    <a:pt x="145637" y="26956"/>
                  </a:cubicBezTo>
                  <a:cubicBezTo>
                    <a:pt x="140399" y="24098"/>
                    <a:pt x="134874" y="21812"/>
                    <a:pt x="129159" y="20098"/>
                  </a:cubicBezTo>
                  <a:cubicBezTo>
                    <a:pt x="126492" y="19336"/>
                    <a:pt x="124682" y="16859"/>
                    <a:pt x="124682" y="14002"/>
                  </a:cubicBezTo>
                  <a:lnTo>
                    <a:pt x="124682" y="6382"/>
                  </a:lnTo>
                  <a:cubicBezTo>
                    <a:pt x="124682" y="2857"/>
                    <a:pt x="121825" y="0"/>
                    <a:pt x="118301" y="0"/>
                  </a:cubicBezTo>
                  <a:lnTo>
                    <a:pt x="89726" y="0"/>
                  </a:lnTo>
                  <a:cubicBezTo>
                    <a:pt x="86201" y="0"/>
                    <a:pt x="83344" y="2857"/>
                    <a:pt x="83344" y="6382"/>
                  </a:cubicBezTo>
                  <a:lnTo>
                    <a:pt x="83344" y="14002"/>
                  </a:lnTo>
                  <a:cubicBezTo>
                    <a:pt x="83344" y="16764"/>
                    <a:pt x="81534" y="19240"/>
                    <a:pt x="78867" y="20098"/>
                  </a:cubicBezTo>
                  <a:cubicBezTo>
                    <a:pt x="73533" y="21717"/>
                    <a:pt x="68485" y="23813"/>
                    <a:pt x="63627" y="26289"/>
                  </a:cubicBezTo>
                  <a:cubicBezTo>
                    <a:pt x="61151" y="27622"/>
                    <a:pt x="58103" y="27146"/>
                    <a:pt x="56102" y="25051"/>
                  </a:cubicBezTo>
                  <a:lnTo>
                    <a:pt x="50768" y="19621"/>
                  </a:lnTo>
                  <a:cubicBezTo>
                    <a:pt x="48292" y="17145"/>
                    <a:pt x="44291" y="17050"/>
                    <a:pt x="41815" y="19526"/>
                  </a:cubicBezTo>
                  <a:lnTo>
                    <a:pt x="21336" y="39433"/>
                  </a:lnTo>
                  <a:cubicBezTo>
                    <a:pt x="18860" y="41910"/>
                    <a:pt x="18764" y="45910"/>
                    <a:pt x="21241" y="48387"/>
                  </a:cubicBezTo>
                  <a:lnTo>
                    <a:pt x="26575" y="53816"/>
                  </a:lnTo>
                  <a:cubicBezTo>
                    <a:pt x="28480" y="55816"/>
                    <a:pt x="28956" y="58864"/>
                    <a:pt x="27527" y="61341"/>
                  </a:cubicBezTo>
                  <a:cubicBezTo>
                    <a:pt x="24670" y="66484"/>
                    <a:pt x="22289" y="72009"/>
                    <a:pt x="20479" y="77724"/>
                  </a:cubicBezTo>
                  <a:cubicBezTo>
                    <a:pt x="19622" y="80391"/>
                    <a:pt x="17145" y="82201"/>
                    <a:pt x="14383" y="82201"/>
                  </a:cubicBezTo>
                  <a:lnTo>
                    <a:pt x="6763" y="82201"/>
                  </a:lnTo>
                  <a:cubicBezTo>
                    <a:pt x="3239" y="82106"/>
                    <a:pt x="381" y="84868"/>
                    <a:pt x="381" y="88392"/>
                  </a:cubicBezTo>
                  <a:lnTo>
                    <a:pt x="0" y="116967"/>
                  </a:lnTo>
                  <a:cubicBezTo>
                    <a:pt x="0" y="120491"/>
                    <a:pt x="2762" y="123349"/>
                    <a:pt x="6287" y="123349"/>
                  </a:cubicBezTo>
                  <a:lnTo>
                    <a:pt x="13907" y="123349"/>
                  </a:lnTo>
                  <a:cubicBezTo>
                    <a:pt x="16669" y="123444"/>
                    <a:pt x="19145" y="125349"/>
                    <a:pt x="19907" y="128016"/>
                  </a:cubicBezTo>
                  <a:cubicBezTo>
                    <a:pt x="21527" y="133826"/>
                    <a:pt x="23813" y="139351"/>
                    <a:pt x="26575" y="144589"/>
                  </a:cubicBezTo>
                  <a:cubicBezTo>
                    <a:pt x="27908" y="147066"/>
                    <a:pt x="27432" y="150114"/>
                    <a:pt x="25432" y="152019"/>
                  </a:cubicBezTo>
                  <a:lnTo>
                    <a:pt x="20003" y="157353"/>
                  </a:lnTo>
                  <a:cubicBezTo>
                    <a:pt x="17526" y="159830"/>
                    <a:pt x="17431" y="163830"/>
                    <a:pt x="19907" y="166307"/>
                  </a:cubicBezTo>
                  <a:lnTo>
                    <a:pt x="39910" y="186690"/>
                  </a:lnTo>
                  <a:cubicBezTo>
                    <a:pt x="42386" y="189166"/>
                    <a:pt x="46387" y="189262"/>
                    <a:pt x="48863" y="186690"/>
                  </a:cubicBezTo>
                  <a:lnTo>
                    <a:pt x="54293" y="181356"/>
                  </a:lnTo>
                  <a:cubicBezTo>
                    <a:pt x="56293" y="179356"/>
                    <a:pt x="59341" y="178975"/>
                    <a:pt x="61817" y="180308"/>
                  </a:cubicBezTo>
                  <a:cubicBezTo>
                    <a:pt x="66961" y="183166"/>
                    <a:pt x="72485" y="185547"/>
                    <a:pt x="78296" y="187261"/>
                  </a:cubicBezTo>
                  <a:cubicBezTo>
                    <a:pt x="80963" y="188119"/>
                    <a:pt x="82772" y="190595"/>
                    <a:pt x="82772" y="193358"/>
                  </a:cubicBezTo>
                  <a:lnTo>
                    <a:pt x="82772" y="200978"/>
                  </a:lnTo>
                  <a:cubicBezTo>
                    <a:pt x="82772" y="204502"/>
                    <a:pt x="85534" y="207359"/>
                    <a:pt x="88964" y="207359"/>
                  </a:cubicBezTo>
                  <a:lnTo>
                    <a:pt x="117539" y="207645"/>
                  </a:lnTo>
                  <a:cubicBezTo>
                    <a:pt x="121063" y="207645"/>
                    <a:pt x="123920" y="204883"/>
                    <a:pt x="123920" y="201359"/>
                  </a:cubicBezTo>
                  <a:lnTo>
                    <a:pt x="123920" y="193738"/>
                  </a:lnTo>
                  <a:cubicBezTo>
                    <a:pt x="123920" y="190976"/>
                    <a:pt x="125825" y="188500"/>
                    <a:pt x="128588" y="187738"/>
                  </a:cubicBezTo>
                  <a:cubicBezTo>
                    <a:pt x="134398" y="186023"/>
                    <a:pt x="139922" y="183833"/>
                    <a:pt x="145161" y="180975"/>
                  </a:cubicBezTo>
                  <a:cubicBezTo>
                    <a:pt x="147638" y="179641"/>
                    <a:pt x="150686" y="180118"/>
                    <a:pt x="152686" y="182118"/>
                  </a:cubicBezTo>
                  <a:lnTo>
                    <a:pt x="158020" y="187547"/>
                  </a:lnTo>
                  <a:cubicBezTo>
                    <a:pt x="160496" y="190024"/>
                    <a:pt x="164497" y="190024"/>
                    <a:pt x="166973" y="187547"/>
                  </a:cubicBezTo>
                  <a:lnTo>
                    <a:pt x="187262" y="167450"/>
                  </a:lnTo>
                  <a:cubicBezTo>
                    <a:pt x="189738" y="164973"/>
                    <a:pt x="189738" y="160973"/>
                    <a:pt x="187262" y="158496"/>
                  </a:cubicBezTo>
                  <a:lnTo>
                    <a:pt x="181928" y="153067"/>
                  </a:lnTo>
                  <a:cubicBezTo>
                    <a:pt x="179927" y="151066"/>
                    <a:pt x="179546" y="148018"/>
                    <a:pt x="180880" y="145542"/>
                  </a:cubicBezTo>
                  <a:cubicBezTo>
                    <a:pt x="183737" y="140303"/>
                    <a:pt x="186023" y="134874"/>
                    <a:pt x="187833" y="129064"/>
                  </a:cubicBezTo>
                  <a:lnTo>
                    <a:pt x="187833" y="1290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06899A3-E380-D464-9FD7-61841C5425FE}"/>
                </a:ext>
              </a:extLst>
            </p:cNvPr>
            <p:cNvSpPr/>
            <p:nvPr/>
          </p:nvSpPr>
          <p:spPr>
            <a:xfrm>
              <a:off x="3030696" y="4859337"/>
              <a:ext cx="276891" cy="276510"/>
            </a:xfrm>
            <a:custGeom>
              <a:avLst/>
              <a:gdLst>
                <a:gd name="connsiteX0" fmla="*/ 100679 w 276891"/>
                <a:gd name="connsiteY0" fmla="*/ 138589 h 276510"/>
                <a:gd name="connsiteX1" fmla="*/ 119348 w 276891"/>
                <a:gd name="connsiteY1" fmla="*/ 105537 h 276510"/>
                <a:gd name="connsiteX2" fmla="*/ 157258 w 276891"/>
                <a:gd name="connsiteY2" fmla="*/ 105251 h 276510"/>
                <a:gd name="connsiteX3" fmla="*/ 176498 w 276891"/>
                <a:gd name="connsiteY3" fmla="*/ 137922 h 276510"/>
                <a:gd name="connsiteX4" fmla="*/ 157829 w 276891"/>
                <a:gd name="connsiteY4" fmla="*/ 170974 h 276510"/>
                <a:gd name="connsiteX5" fmla="*/ 119920 w 276891"/>
                <a:gd name="connsiteY5" fmla="*/ 171260 h 276510"/>
                <a:gd name="connsiteX6" fmla="*/ 100679 w 276891"/>
                <a:gd name="connsiteY6" fmla="*/ 138589 h 276510"/>
                <a:gd name="connsiteX7" fmla="*/ 100679 w 276891"/>
                <a:gd name="connsiteY7" fmla="*/ 138589 h 276510"/>
                <a:gd name="connsiteX8" fmla="*/ 118586 w 276891"/>
                <a:gd name="connsiteY8" fmla="*/ 276225 h 276510"/>
                <a:gd name="connsiteX9" fmla="*/ 156591 w 276891"/>
                <a:gd name="connsiteY9" fmla="*/ 276511 h 276510"/>
                <a:gd name="connsiteX10" fmla="*/ 165068 w 276891"/>
                <a:gd name="connsiteY10" fmla="*/ 268129 h 276510"/>
                <a:gd name="connsiteX11" fmla="*/ 165068 w 276891"/>
                <a:gd name="connsiteY11" fmla="*/ 258032 h 276510"/>
                <a:gd name="connsiteX12" fmla="*/ 171260 w 276891"/>
                <a:gd name="connsiteY12" fmla="*/ 250031 h 276510"/>
                <a:gd name="connsiteX13" fmla="*/ 193262 w 276891"/>
                <a:gd name="connsiteY13" fmla="*/ 241078 h 276510"/>
                <a:gd name="connsiteX14" fmla="*/ 203263 w 276891"/>
                <a:gd name="connsiteY14" fmla="*/ 242602 h 276510"/>
                <a:gd name="connsiteX15" fmla="*/ 210407 w 276891"/>
                <a:gd name="connsiteY15" fmla="*/ 249841 h 276510"/>
                <a:gd name="connsiteX16" fmla="*/ 222313 w 276891"/>
                <a:gd name="connsiteY16" fmla="*/ 249841 h 276510"/>
                <a:gd name="connsiteX17" fmla="*/ 249364 w 276891"/>
                <a:gd name="connsiteY17" fmla="*/ 223171 h 276510"/>
                <a:gd name="connsiteX18" fmla="*/ 249364 w 276891"/>
                <a:gd name="connsiteY18" fmla="*/ 211265 h 276510"/>
                <a:gd name="connsiteX19" fmla="*/ 242221 w 276891"/>
                <a:gd name="connsiteY19" fmla="*/ 204026 h 276510"/>
                <a:gd name="connsiteX20" fmla="*/ 240792 w 276891"/>
                <a:gd name="connsiteY20" fmla="*/ 194024 h 276510"/>
                <a:gd name="connsiteX21" fmla="*/ 250031 w 276891"/>
                <a:gd name="connsiteY21" fmla="*/ 172117 h 276510"/>
                <a:gd name="connsiteX22" fmla="*/ 258128 w 276891"/>
                <a:gd name="connsiteY22" fmla="*/ 166116 h 276510"/>
                <a:gd name="connsiteX23" fmla="*/ 268224 w 276891"/>
                <a:gd name="connsiteY23" fmla="*/ 166116 h 276510"/>
                <a:gd name="connsiteX24" fmla="*/ 276701 w 276891"/>
                <a:gd name="connsiteY24" fmla="*/ 157734 h 276510"/>
                <a:gd name="connsiteX25" fmla="*/ 276892 w 276891"/>
                <a:gd name="connsiteY25" fmla="*/ 119729 h 276510"/>
                <a:gd name="connsiteX26" fmla="*/ 268510 w 276891"/>
                <a:gd name="connsiteY26" fmla="*/ 111252 h 276510"/>
                <a:gd name="connsiteX27" fmla="*/ 258413 w 276891"/>
                <a:gd name="connsiteY27" fmla="*/ 111252 h 276510"/>
                <a:gd name="connsiteX28" fmla="*/ 250317 w 276891"/>
                <a:gd name="connsiteY28" fmla="*/ 105156 h 276510"/>
                <a:gd name="connsiteX29" fmla="*/ 241268 w 276891"/>
                <a:gd name="connsiteY29" fmla="*/ 83153 h 276510"/>
                <a:gd name="connsiteX30" fmla="*/ 242792 w 276891"/>
                <a:gd name="connsiteY30" fmla="*/ 73152 h 276510"/>
                <a:gd name="connsiteX31" fmla="*/ 249936 w 276891"/>
                <a:gd name="connsiteY31" fmla="*/ 66008 h 276510"/>
                <a:gd name="connsiteX32" fmla="*/ 249936 w 276891"/>
                <a:gd name="connsiteY32" fmla="*/ 54102 h 276510"/>
                <a:gd name="connsiteX33" fmla="*/ 223171 w 276891"/>
                <a:gd name="connsiteY33" fmla="*/ 27241 h 276510"/>
                <a:gd name="connsiteX34" fmla="*/ 211264 w 276891"/>
                <a:gd name="connsiteY34" fmla="*/ 27241 h 276510"/>
                <a:gd name="connsiteX35" fmla="*/ 204121 w 276891"/>
                <a:gd name="connsiteY35" fmla="*/ 34385 h 276510"/>
                <a:gd name="connsiteX36" fmla="*/ 194119 w 276891"/>
                <a:gd name="connsiteY36" fmla="*/ 35814 h 276510"/>
                <a:gd name="connsiteX37" fmla="*/ 172117 w 276891"/>
                <a:gd name="connsiteY37" fmla="*/ 26670 h 276510"/>
                <a:gd name="connsiteX38" fmla="*/ 166116 w 276891"/>
                <a:gd name="connsiteY38" fmla="*/ 18574 h 276510"/>
                <a:gd name="connsiteX39" fmla="*/ 166116 w 276891"/>
                <a:gd name="connsiteY39" fmla="*/ 8477 h 276510"/>
                <a:gd name="connsiteX40" fmla="*/ 157639 w 276891"/>
                <a:gd name="connsiteY40" fmla="*/ 0 h 276510"/>
                <a:gd name="connsiteX41" fmla="*/ 119634 w 276891"/>
                <a:gd name="connsiteY41" fmla="*/ 0 h 276510"/>
                <a:gd name="connsiteX42" fmla="*/ 111157 w 276891"/>
                <a:gd name="connsiteY42" fmla="*/ 8477 h 276510"/>
                <a:gd name="connsiteX43" fmla="*/ 111157 w 276891"/>
                <a:gd name="connsiteY43" fmla="*/ 18574 h 276510"/>
                <a:gd name="connsiteX44" fmla="*/ 105156 w 276891"/>
                <a:gd name="connsiteY44" fmla="*/ 26670 h 276510"/>
                <a:gd name="connsiteX45" fmla="*/ 84868 w 276891"/>
                <a:gd name="connsiteY45" fmla="*/ 34862 h 276510"/>
                <a:gd name="connsiteX46" fmla="*/ 74866 w 276891"/>
                <a:gd name="connsiteY46" fmla="*/ 33242 h 276510"/>
                <a:gd name="connsiteX47" fmla="*/ 67818 w 276891"/>
                <a:gd name="connsiteY47" fmla="*/ 26003 h 276510"/>
                <a:gd name="connsiteX48" fmla="*/ 55816 w 276891"/>
                <a:gd name="connsiteY48" fmla="*/ 25813 h 276510"/>
                <a:gd name="connsiteX49" fmla="*/ 28575 w 276891"/>
                <a:gd name="connsiteY49" fmla="*/ 52292 h 276510"/>
                <a:gd name="connsiteX50" fmla="*/ 28384 w 276891"/>
                <a:gd name="connsiteY50" fmla="*/ 64198 h 276510"/>
                <a:gd name="connsiteX51" fmla="*/ 35433 w 276891"/>
                <a:gd name="connsiteY51" fmla="*/ 71438 h 276510"/>
                <a:gd name="connsiteX52" fmla="*/ 36766 w 276891"/>
                <a:gd name="connsiteY52" fmla="*/ 81439 h 276510"/>
                <a:gd name="connsiteX53" fmla="*/ 27337 w 276891"/>
                <a:gd name="connsiteY53" fmla="*/ 103251 h 276510"/>
                <a:gd name="connsiteX54" fmla="*/ 19145 w 276891"/>
                <a:gd name="connsiteY54" fmla="*/ 109157 h 276510"/>
                <a:gd name="connsiteX55" fmla="*/ 9049 w 276891"/>
                <a:gd name="connsiteY55" fmla="*/ 109157 h 276510"/>
                <a:gd name="connsiteX56" fmla="*/ 476 w 276891"/>
                <a:gd name="connsiteY56" fmla="*/ 117348 h 276510"/>
                <a:gd name="connsiteX57" fmla="*/ 0 w 276891"/>
                <a:gd name="connsiteY57" fmla="*/ 155353 h 276510"/>
                <a:gd name="connsiteX58" fmla="*/ 8382 w 276891"/>
                <a:gd name="connsiteY58" fmla="*/ 163925 h 276510"/>
                <a:gd name="connsiteX59" fmla="*/ 18478 w 276891"/>
                <a:gd name="connsiteY59" fmla="*/ 163925 h 276510"/>
                <a:gd name="connsiteX60" fmla="*/ 26479 w 276891"/>
                <a:gd name="connsiteY60" fmla="*/ 170117 h 276510"/>
                <a:gd name="connsiteX61" fmla="*/ 35338 w 276891"/>
                <a:gd name="connsiteY61" fmla="*/ 192215 h 276510"/>
                <a:gd name="connsiteX62" fmla="*/ 33814 w 276891"/>
                <a:gd name="connsiteY62" fmla="*/ 202121 h 276510"/>
                <a:gd name="connsiteX63" fmla="*/ 26575 w 276891"/>
                <a:gd name="connsiteY63" fmla="*/ 209264 h 276510"/>
                <a:gd name="connsiteX64" fmla="*/ 26479 w 276891"/>
                <a:gd name="connsiteY64" fmla="*/ 221171 h 276510"/>
                <a:gd name="connsiteX65" fmla="*/ 53054 w 276891"/>
                <a:gd name="connsiteY65" fmla="*/ 248317 h 276510"/>
                <a:gd name="connsiteX66" fmla="*/ 64960 w 276891"/>
                <a:gd name="connsiteY66" fmla="*/ 248412 h 276510"/>
                <a:gd name="connsiteX67" fmla="*/ 72200 w 276891"/>
                <a:gd name="connsiteY67" fmla="*/ 241268 h 276510"/>
                <a:gd name="connsiteX68" fmla="*/ 82201 w 276891"/>
                <a:gd name="connsiteY68" fmla="*/ 239935 h 276510"/>
                <a:gd name="connsiteX69" fmla="*/ 104108 w 276891"/>
                <a:gd name="connsiteY69" fmla="*/ 249269 h 276510"/>
                <a:gd name="connsiteX70" fmla="*/ 110014 w 276891"/>
                <a:gd name="connsiteY70" fmla="*/ 257366 h 276510"/>
                <a:gd name="connsiteX71" fmla="*/ 110014 w 276891"/>
                <a:gd name="connsiteY71" fmla="*/ 267462 h 276510"/>
                <a:gd name="connsiteX72" fmla="*/ 118301 w 276891"/>
                <a:gd name="connsiteY72" fmla="*/ 275939 h 276510"/>
                <a:gd name="connsiteX73" fmla="*/ 118301 w 276891"/>
                <a:gd name="connsiteY73" fmla="*/ 275939 h 27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6891" h="276510">
                  <a:moveTo>
                    <a:pt x="100679" y="138589"/>
                  </a:moveTo>
                  <a:lnTo>
                    <a:pt x="119348" y="105537"/>
                  </a:lnTo>
                  <a:lnTo>
                    <a:pt x="157258" y="105251"/>
                  </a:lnTo>
                  <a:lnTo>
                    <a:pt x="176498" y="137922"/>
                  </a:lnTo>
                  <a:lnTo>
                    <a:pt x="157829" y="170974"/>
                  </a:lnTo>
                  <a:lnTo>
                    <a:pt x="119920" y="171260"/>
                  </a:lnTo>
                  <a:lnTo>
                    <a:pt x="100679" y="138589"/>
                  </a:lnTo>
                  <a:lnTo>
                    <a:pt x="100679" y="138589"/>
                  </a:lnTo>
                  <a:close/>
                  <a:moveTo>
                    <a:pt x="118586" y="276225"/>
                  </a:moveTo>
                  <a:lnTo>
                    <a:pt x="156591" y="276511"/>
                  </a:lnTo>
                  <a:cubicBezTo>
                    <a:pt x="161258" y="276511"/>
                    <a:pt x="165068" y="272796"/>
                    <a:pt x="165068" y="268129"/>
                  </a:cubicBezTo>
                  <a:lnTo>
                    <a:pt x="165068" y="258032"/>
                  </a:lnTo>
                  <a:cubicBezTo>
                    <a:pt x="165164" y="254318"/>
                    <a:pt x="167640" y="251079"/>
                    <a:pt x="171260" y="250031"/>
                  </a:cubicBezTo>
                  <a:cubicBezTo>
                    <a:pt x="178975" y="247841"/>
                    <a:pt x="186309" y="244793"/>
                    <a:pt x="193262" y="241078"/>
                  </a:cubicBezTo>
                  <a:cubicBezTo>
                    <a:pt x="196596" y="239363"/>
                    <a:pt x="200597" y="239935"/>
                    <a:pt x="203263" y="242602"/>
                  </a:cubicBezTo>
                  <a:lnTo>
                    <a:pt x="210407" y="249841"/>
                  </a:lnTo>
                  <a:cubicBezTo>
                    <a:pt x="213646" y="253175"/>
                    <a:pt x="219075" y="253175"/>
                    <a:pt x="222313" y="249841"/>
                  </a:cubicBezTo>
                  <a:lnTo>
                    <a:pt x="249364" y="223171"/>
                  </a:lnTo>
                  <a:cubicBezTo>
                    <a:pt x="252698" y="219932"/>
                    <a:pt x="252698" y="214503"/>
                    <a:pt x="249364" y="211265"/>
                  </a:cubicBezTo>
                  <a:lnTo>
                    <a:pt x="242221" y="204026"/>
                  </a:lnTo>
                  <a:cubicBezTo>
                    <a:pt x="239554" y="201359"/>
                    <a:pt x="239078" y="197358"/>
                    <a:pt x="240792" y="194024"/>
                  </a:cubicBezTo>
                  <a:cubicBezTo>
                    <a:pt x="244602" y="187071"/>
                    <a:pt x="247650" y="179737"/>
                    <a:pt x="250031" y="172117"/>
                  </a:cubicBezTo>
                  <a:cubicBezTo>
                    <a:pt x="251079" y="168593"/>
                    <a:pt x="254413" y="166116"/>
                    <a:pt x="258128" y="166116"/>
                  </a:cubicBezTo>
                  <a:lnTo>
                    <a:pt x="268224" y="166116"/>
                  </a:lnTo>
                  <a:cubicBezTo>
                    <a:pt x="272891" y="166116"/>
                    <a:pt x="276701" y="162401"/>
                    <a:pt x="276701" y="157734"/>
                  </a:cubicBezTo>
                  <a:lnTo>
                    <a:pt x="276892" y="119729"/>
                  </a:lnTo>
                  <a:cubicBezTo>
                    <a:pt x="276892" y="115062"/>
                    <a:pt x="273177" y="111252"/>
                    <a:pt x="268510" y="111252"/>
                  </a:cubicBezTo>
                  <a:lnTo>
                    <a:pt x="258413" y="111252"/>
                  </a:lnTo>
                  <a:cubicBezTo>
                    <a:pt x="254699" y="111252"/>
                    <a:pt x="251460" y="108776"/>
                    <a:pt x="250317" y="105156"/>
                  </a:cubicBezTo>
                  <a:cubicBezTo>
                    <a:pt x="248031" y="97441"/>
                    <a:pt x="244983" y="90107"/>
                    <a:pt x="241268" y="83153"/>
                  </a:cubicBezTo>
                  <a:cubicBezTo>
                    <a:pt x="239459" y="79915"/>
                    <a:pt x="240125" y="75819"/>
                    <a:pt x="242792" y="73152"/>
                  </a:cubicBezTo>
                  <a:lnTo>
                    <a:pt x="249936" y="66008"/>
                  </a:lnTo>
                  <a:cubicBezTo>
                    <a:pt x="253270" y="62675"/>
                    <a:pt x="253270" y="57341"/>
                    <a:pt x="249936" y="54102"/>
                  </a:cubicBezTo>
                  <a:lnTo>
                    <a:pt x="223171" y="27241"/>
                  </a:lnTo>
                  <a:cubicBezTo>
                    <a:pt x="219932" y="23908"/>
                    <a:pt x="214503" y="23908"/>
                    <a:pt x="211264" y="27241"/>
                  </a:cubicBezTo>
                  <a:lnTo>
                    <a:pt x="204121" y="34385"/>
                  </a:lnTo>
                  <a:cubicBezTo>
                    <a:pt x="201454" y="37052"/>
                    <a:pt x="197453" y="37624"/>
                    <a:pt x="194119" y="35814"/>
                  </a:cubicBezTo>
                  <a:cubicBezTo>
                    <a:pt x="187166" y="32099"/>
                    <a:pt x="179832" y="28956"/>
                    <a:pt x="172117" y="26670"/>
                  </a:cubicBezTo>
                  <a:cubicBezTo>
                    <a:pt x="168592" y="25622"/>
                    <a:pt x="166116" y="22289"/>
                    <a:pt x="166116" y="18574"/>
                  </a:cubicBezTo>
                  <a:lnTo>
                    <a:pt x="166116" y="8477"/>
                  </a:lnTo>
                  <a:cubicBezTo>
                    <a:pt x="166116" y="3810"/>
                    <a:pt x="162306" y="0"/>
                    <a:pt x="157639" y="0"/>
                  </a:cubicBezTo>
                  <a:lnTo>
                    <a:pt x="119634" y="0"/>
                  </a:lnTo>
                  <a:cubicBezTo>
                    <a:pt x="114967" y="0"/>
                    <a:pt x="111157" y="3810"/>
                    <a:pt x="111157" y="8477"/>
                  </a:cubicBezTo>
                  <a:lnTo>
                    <a:pt x="111157" y="18574"/>
                  </a:lnTo>
                  <a:cubicBezTo>
                    <a:pt x="111157" y="22289"/>
                    <a:pt x="108680" y="25622"/>
                    <a:pt x="105156" y="26670"/>
                  </a:cubicBezTo>
                  <a:cubicBezTo>
                    <a:pt x="98107" y="28766"/>
                    <a:pt x="91345" y="31528"/>
                    <a:pt x="84868" y="34862"/>
                  </a:cubicBezTo>
                  <a:cubicBezTo>
                    <a:pt x="81534" y="36576"/>
                    <a:pt x="77533" y="35909"/>
                    <a:pt x="74866" y="33242"/>
                  </a:cubicBezTo>
                  <a:lnTo>
                    <a:pt x="67818" y="26003"/>
                  </a:lnTo>
                  <a:cubicBezTo>
                    <a:pt x="64579" y="22670"/>
                    <a:pt x="59245" y="22574"/>
                    <a:pt x="55816" y="25813"/>
                  </a:cubicBezTo>
                  <a:lnTo>
                    <a:pt x="28575" y="52292"/>
                  </a:lnTo>
                  <a:cubicBezTo>
                    <a:pt x="25241" y="55531"/>
                    <a:pt x="25146" y="60865"/>
                    <a:pt x="28384" y="64198"/>
                  </a:cubicBezTo>
                  <a:lnTo>
                    <a:pt x="35433" y="71438"/>
                  </a:lnTo>
                  <a:cubicBezTo>
                    <a:pt x="38005" y="74105"/>
                    <a:pt x="38576" y="78200"/>
                    <a:pt x="36766" y="81439"/>
                  </a:cubicBezTo>
                  <a:cubicBezTo>
                    <a:pt x="32957" y="88297"/>
                    <a:pt x="29718" y="95631"/>
                    <a:pt x="27337" y="103251"/>
                  </a:cubicBezTo>
                  <a:cubicBezTo>
                    <a:pt x="26194" y="106775"/>
                    <a:pt x="22955" y="109157"/>
                    <a:pt x="19145" y="109157"/>
                  </a:cubicBezTo>
                  <a:lnTo>
                    <a:pt x="9049" y="109157"/>
                  </a:lnTo>
                  <a:cubicBezTo>
                    <a:pt x="4382" y="108966"/>
                    <a:pt x="571" y="112681"/>
                    <a:pt x="476" y="117348"/>
                  </a:cubicBezTo>
                  <a:lnTo>
                    <a:pt x="0" y="155353"/>
                  </a:lnTo>
                  <a:cubicBezTo>
                    <a:pt x="0" y="160020"/>
                    <a:pt x="3715" y="163830"/>
                    <a:pt x="8382" y="163925"/>
                  </a:cubicBezTo>
                  <a:lnTo>
                    <a:pt x="18478" y="163925"/>
                  </a:lnTo>
                  <a:cubicBezTo>
                    <a:pt x="22193" y="164116"/>
                    <a:pt x="25432" y="166592"/>
                    <a:pt x="26479" y="170117"/>
                  </a:cubicBezTo>
                  <a:cubicBezTo>
                    <a:pt x="28670" y="177832"/>
                    <a:pt x="31623" y="185261"/>
                    <a:pt x="35338" y="192215"/>
                  </a:cubicBezTo>
                  <a:cubicBezTo>
                    <a:pt x="37052" y="195548"/>
                    <a:pt x="36481" y="199549"/>
                    <a:pt x="33814" y="202121"/>
                  </a:cubicBezTo>
                  <a:lnTo>
                    <a:pt x="26575" y="209264"/>
                  </a:lnTo>
                  <a:cubicBezTo>
                    <a:pt x="23241" y="212503"/>
                    <a:pt x="23146" y="217837"/>
                    <a:pt x="26479" y="221171"/>
                  </a:cubicBezTo>
                  <a:lnTo>
                    <a:pt x="53054" y="248317"/>
                  </a:lnTo>
                  <a:cubicBezTo>
                    <a:pt x="56293" y="251651"/>
                    <a:pt x="61722" y="251746"/>
                    <a:pt x="64960" y="248412"/>
                  </a:cubicBezTo>
                  <a:lnTo>
                    <a:pt x="72200" y="241268"/>
                  </a:lnTo>
                  <a:cubicBezTo>
                    <a:pt x="74866" y="238697"/>
                    <a:pt x="78962" y="238125"/>
                    <a:pt x="82201" y="239935"/>
                  </a:cubicBezTo>
                  <a:cubicBezTo>
                    <a:pt x="89154" y="243745"/>
                    <a:pt x="96393" y="246888"/>
                    <a:pt x="104108" y="249269"/>
                  </a:cubicBezTo>
                  <a:cubicBezTo>
                    <a:pt x="107632" y="250317"/>
                    <a:pt x="110109" y="253651"/>
                    <a:pt x="110014" y="257366"/>
                  </a:cubicBezTo>
                  <a:lnTo>
                    <a:pt x="110014" y="267462"/>
                  </a:lnTo>
                  <a:cubicBezTo>
                    <a:pt x="109918" y="272129"/>
                    <a:pt x="113633" y="275939"/>
                    <a:pt x="118301" y="275939"/>
                  </a:cubicBezTo>
                  <a:lnTo>
                    <a:pt x="118301" y="27593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4696E8C-F33F-BE34-ABA4-41B808CA5E19}"/>
                </a:ext>
              </a:extLst>
            </p:cNvPr>
            <p:cNvSpPr/>
            <p:nvPr/>
          </p:nvSpPr>
          <p:spPr>
            <a:xfrm>
              <a:off x="2965069" y="4877747"/>
              <a:ext cx="68838" cy="212284"/>
            </a:xfrm>
            <a:custGeom>
              <a:avLst/>
              <a:gdLst>
                <a:gd name="connsiteX0" fmla="*/ 46672 w 68838"/>
                <a:gd name="connsiteY0" fmla="*/ 212189 h 212284"/>
                <a:gd name="connsiteX1" fmla="*/ 55245 w 68838"/>
                <a:gd name="connsiteY1" fmla="*/ 153325 h 212284"/>
                <a:gd name="connsiteX2" fmla="*/ 37147 w 68838"/>
                <a:gd name="connsiteY2" fmla="*/ 160564 h 212284"/>
                <a:gd name="connsiteX3" fmla="*/ 42767 w 68838"/>
                <a:gd name="connsiteY3" fmla="*/ 59885 h 212284"/>
                <a:gd name="connsiteX4" fmla="*/ 66484 w 68838"/>
                <a:gd name="connsiteY4" fmla="*/ 16355 h 212284"/>
                <a:gd name="connsiteX5" fmla="*/ 65341 w 68838"/>
                <a:gd name="connsiteY5" fmla="*/ 2354 h 212284"/>
                <a:gd name="connsiteX6" fmla="*/ 51340 w 68838"/>
                <a:gd name="connsiteY6" fmla="*/ 3497 h 212284"/>
                <a:gd name="connsiteX7" fmla="*/ 24479 w 68838"/>
                <a:gd name="connsiteY7" fmla="*/ 52169 h 212284"/>
                <a:gd name="connsiteX8" fmla="*/ 18574 w 68838"/>
                <a:gd name="connsiteY8" fmla="*/ 167993 h 212284"/>
                <a:gd name="connsiteX9" fmla="*/ 0 w 68838"/>
                <a:gd name="connsiteY9" fmla="*/ 175423 h 212284"/>
                <a:gd name="connsiteX10" fmla="*/ 46672 w 68838"/>
                <a:gd name="connsiteY10" fmla="*/ 212285 h 212284"/>
                <a:gd name="connsiteX11" fmla="*/ 46672 w 68838"/>
                <a:gd name="connsiteY11" fmla="*/ 212285 h 21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38" h="212284">
                  <a:moveTo>
                    <a:pt x="46672" y="212189"/>
                  </a:moveTo>
                  <a:lnTo>
                    <a:pt x="55245" y="153325"/>
                  </a:lnTo>
                  <a:lnTo>
                    <a:pt x="37147" y="160564"/>
                  </a:lnTo>
                  <a:cubicBezTo>
                    <a:pt x="28765" y="126655"/>
                    <a:pt x="30575" y="92746"/>
                    <a:pt x="42767" y="59885"/>
                  </a:cubicBezTo>
                  <a:cubicBezTo>
                    <a:pt x="52769" y="32834"/>
                    <a:pt x="66294" y="16641"/>
                    <a:pt x="66484" y="16355"/>
                  </a:cubicBezTo>
                  <a:cubicBezTo>
                    <a:pt x="70009" y="12164"/>
                    <a:pt x="69533" y="5878"/>
                    <a:pt x="65341" y="2354"/>
                  </a:cubicBezTo>
                  <a:cubicBezTo>
                    <a:pt x="61151" y="-1171"/>
                    <a:pt x="54864" y="-694"/>
                    <a:pt x="51340" y="3497"/>
                  </a:cubicBezTo>
                  <a:cubicBezTo>
                    <a:pt x="50673" y="4259"/>
                    <a:pt x="35719" y="22070"/>
                    <a:pt x="24479" y="52169"/>
                  </a:cubicBezTo>
                  <a:cubicBezTo>
                    <a:pt x="14669" y="78554"/>
                    <a:pt x="6001" y="119511"/>
                    <a:pt x="18574" y="167993"/>
                  </a:cubicBezTo>
                  <a:lnTo>
                    <a:pt x="0" y="175423"/>
                  </a:lnTo>
                  <a:lnTo>
                    <a:pt x="46672" y="212285"/>
                  </a:lnTo>
                  <a:lnTo>
                    <a:pt x="46672" y="2122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60C3872-AC00-871D-3483-63F68A7B1F30}"/>
                </a:ext>
              </a:extLst>
            </p:cNvPr>
            <p:cNvSpPr/>
            <p:nvPr/>
          </p:nvSpPr>
          <p:spPr>
            <a:xfrm>
              <a:off x="3157377" y="5080983"/>
              <a:ext cx="172785" cy="134778"/>
            </a:xfrm>
            <a:custGeom>
              <a:avLst/>
              <a:gdLst>
                <a:gd name="connsiteX0" fmla="*/ 9812 w 172785"/>
                <a:gd name="connsiteY0" fmla="*/ 134779 h 134778"/>
                <a:gd name="connsiteX1" fmla="*/ 10003 w 172785"/>
                <a:gd name="connsiteY1" fmla="*/ 134779 h 134778"/>
                <a:gd name="connsiteX2" fmla="*/ 64295 w 172785"/>
                <a:gd name="connsiteY2" fmla="*/ 122682 h 134778"/>
                <a:gd name="connsiteX3" fmla="*/ 154973 w 172785"/>
                <a:gd name="connsiteY3" fmla="*/ 50387 h 134778"/>
                <a:gd name="connsiteX4" fmla="*/ 172785 w 172785"/>
                <a:gd name="connsiteY4" fmla="*/ 59436 h 134778"/>
                <a:gd name="connsiteX5" fmla="*/ 169547 w 172785"/>
                <a:gd name="connsiteY5" fmla="*/ 0 h 134778"/>
                <a:gd name="connsiteX6" fmla="*/ 119731 w 172785"/>
                <a:gd name="connsiteY6" fmla="*/ 32576 h 134778"/>
                <a:gd name="connsiteX7" fmla="*/ 137162 w 172785"/>
                <a:gd name="connsiteY7" fmla="*/ 41339 h 134778"/>
                <a:gd name="connsiteX8" fmla="*/ 58009 w 172785"/>
                <a:gd name="connsiteY8" fmla="*/ 103822 h 134778"/>
                <a:gd name="connsiteX9" fmla="*/ 9717 w 172785"/>
                <a:gd name="connsiteY9" fmla="*/ 114872 h 134778"/>
                <a:gd name="connsiteX10" fmla="*/ 2 w 172785"/>
                <a:gd name="connsiteY10" fmla="*/ 124968 h 134778"/>
                <a:gd name="connsiteX11" fmla="*/ 9908 w 172785"/>
                <a:gd name="connsiteY11" fmla="*/ 134684 h 134778"/>
                <a:gd name="connsiteX12" fmla="*/ 9908 w 172785"/>
                <a:gd name="connsiteY12" fmla="*/ 134684 h 1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785" h="134778">
                  <a:moveTo>
                    <a:pt x="9812" y="134779"/>
                  </a:moveTo>
                  <a:cubicBezTo>
                    <a:pt x="9812" y="134779"/>
                    <a:pt x="9908" y="134779"/>
                    <a:pt x="10003" y="134779"/>
                  </a:cubicBezTo>
                  <a:cubicBezTo>
                    <a:pt x="10955" y="134779"/>
                    <a:pt x="34292" y="134207"/>
                    <a:pt x="64295" y="122682"/>
                  </a:cubicBezTo>
                  <a:cubicBezTo>
                    <a:pt x="90584" y="112586"/>
                    <a:pt x="126970" y="92012"/>
                    <a:pt x="154973" y="50387"/>
                  </a:cubicBezTo>
                  <a:lnTo>
                    <a:pt x="172785" y="59436"/>
                  </a:lnTo>
                  <a:lnTo>
                    <a:pt x="169547" y="0"/>
                  </a:lnTo>
                  <a:lnTo>
                    <a:pt x="119731" y="32576"/>
                  </a:lnTo>
                  <a:lnTo>
                    <a:pt x="137162" y="41339"/>
                  </a:lnTo>
                  <a:cubicBezTo>
                    <a:pt x="117254" y="70104"/>
                    <a:pt x="90680" y="91154"/>
                    <a:pt x="58009" y="103822"/>
                  </a:cubicBezTo>
                  <a:cubicBezTo>
                    <a:pt x="31339" y="114205"/>
                    <a:pt x="10193" y="114872"/>
                    <a:pt x="9717" y="114872"/>
                  </a:cubicBezTo>
                  <a:cubicBezTo>
                    <a:pt x="4193" y="114967"/>
                    <a:pt x="-94" y="119539"/>
                    <a:pt x="2" y="124968"/>
                  </a:cubicBezTo>
                  <a:cubicBezTo>
                    <a:pt x="97" y="130397"/>
                    <a:pt x="4574" y="134684"/>
                    <a:pt x="9908" y="134684"/>
                  </a:cubicBezTo>
                  <a:lnTo>
                    <a:pt x="9908" y="1346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Graphic 33">
            <a:extLst>
              <a:ext uri="{FF2B5EF4-FFF2-40B4-BE49-F238E27FC236}">
                <a16:creationId xmlns:a16="http://schemas.microsoft.com/office/drawing/2014/main" id="{1D7CB239-B05F-421D-B9B8-0FB7D4BFB016}"/>
              </a:ext>
              <a:ext uri="{C183D7F6-B498-43B3-948B-1728B52AA6E4}">
                <adec:decorative xmlns:adec="http://schemas.microsoft.com/office/drawing/2017/decorative" val="1"/>
              </a:ext>
            </a:extLst>
          </p:cNvPr>
          <p:cNvSpPr/>
          <p:nvPr/>
        </p:nvSpPr>
        <p:spPr>
          <a:xfrm>
            <a:off x="4646400" y="3378200"/>
            <a:ext cx="589459" cy="345586"/>
          </a:xfrm>
          <a:custGeom>
            <a:avLst/>
            <a:gdLst>
              <a:gd name="connsiteX0" fmla="*/ 559056 w 589459"/>
              <a:gd name="connsiteY0" fmla="*/ 133605 h 345586"/>
              <a:gd name="connsiteX1" fmla="*/ 559119 w 589459"/>
              <a:gd name="connsiteY1" fmla="*/ 133554 h 345586"/>
              <a:gd name="connsiteX2" fmla="*/ 514362 w 589459"/>
              <a:gd name="connsiteY2" fmla="*/ 82844 h 345586"/>
              <a:gd name="connsiteX3" fmla="*/ 514337 w 589459"/>
              <a:gd name="connsiteY3" fmla="*/ 82853 h 345586"/>
              <a:gd name="connsiteX4" fmla="*/ 447913 w 589459"/>
              <a:gd name="connsiteY4" fmla="*/ 43414 h 345586"/>
              <a:gd name="connsiteX5" fmla="*/ 430895 w 589459"/>
              <a:gd name="connsiteY5" fmla="*/ 21919 h 345586"/>
              <a:gd name="connsiteX6" fmla="*/ 430840 w 589459"/>
              <a:gd name="connsiteY6" fmla="*/ 21945 h 345586"/>
              <a:gd name="connsiteX7" fmla="*/ 386828 w 589459"/>
              <a:gd name="connsiteY7" fmla="*/ 0 h 345586"/>
              <a:gd name="connsiteX8" fmla="*/ 331566 w 589459"/>
              <a:gd name="connsiteY8" fmla="*/ 55262 h 345586"/>
              <a:gd name="connsiteX9" fmla="*/ 332741 w 589459"/>
              <a:gd name="connsiteY9" fmla="*/ 66592 h 345586"/>
              <a:gd name="connsiteX10" fmla="*/ 332733 w 589459"/>
              <a:gd name="connsiteY10" fmla="*/ 66592 h 345586"/>
              <a:gd name="connsiteX11" fmla="*/ 337486 w 589459"/>
              <a:gd name="connsiteY11" fmla="*/ 89185 h 345586"/>
              <a:gd name="connsiteX12" fmla="*/ 328400 w 589459"/>
              <a:gd name="connsiteY12" fmla="*/ 104839 h 345586"/>
              <a:gd name="connsiteX13" fmla="*/ 294730 w 589459"/>
              <a:gd name="connsiteY13" fmla="*/ 82895 h 345586"/>
              <a:gd name="connsiteX14" fmla="*/ 261059 w 589459"/>
              <a:gd name="connsiteY14" fmla="*/ 104831 h 345586"/>
              <a:gd name="connsiteX15" fmla="*/ 251884 w 589459"/>
              <a:gd name="connsiteY15" fmla="*/ 89063 h 345586"/>
              <a:gd name="connsiteX16" fmla="*/ 256154 w 589459"/>
              <a:gd name="connsiteY16" fmla="*/ 68781 h 345586"/>
              <a:gd name="connsiteX17" fmla="*/ 257893 w 589459"/>
              <a:gd name="connsiteY17" fmla="*/ 55270 h 345586"/>
              <a:gd name="connsiteX18" fmla="*/ 202627 w 589459"/>
              <a:gd name="connsiteY18" fmla="*/ 0 h 345586"/>
              <a:gd name="connsiteX19" fmla="*/ 158611 w 589459"/>
              <a:gd name="connsiteY19" fmla="*/ 21945 h 345586"/>
              <a:gd name="connsiteX20" fmla="*/ 158556 w 589459"/>
              <a:gd name="connsiteY20" fmla="*/ 21924 h 345586"/>
              <a:gd name="connsiteX21" fmla="*/ 141495 w 589459"/>
              <a:gd name="connsiteY21" fmla="*/ 43435 h 345586"/>
              <a:gd name="connsiteX22" fmla="*/ 81636 w 589459"/>
              <a:gd name="connsiteY22" fmla="*/ 75476 h 345586"/>
              <a:gd name="connsiteX23" fmla="*/ 81615 w 589459"/>
              <a:gd name="connsiteY23" fmla="*/ 75463 h 345586"/>
              <a:gd name="connsiteX24" fmla="*/ 81164 w 589459"/>
              <a:gd name="connsiteY24" fmla="*/ 75973 h 345586"/>
              <a:gd name="connsiteX25" fmla="*/ 75316 w 589459"/>
              <a:gd name="connsiteY25" fmla="*/ 82600 h 345586"/>
              <a:gd name="connsiteX26" fmla="*/ 30370 w 589459"/>
              <a:gd name="connsiteY26" fmla="*/ 133550 h 345586"/>
              <a:gd name="connsiteX27" fmla="*/ 30416 w 589459"/>
              <a:gd name="connsiteY27" fmla="*/ 133584 h 345586"/>
              <a:gd name="connsiteX28" fmla="*/ 0 w 589459"/>
              <a:gd name="connsiteY28" fmla="*/ 216643 h 345586"/>
              <a:gd name="connsiteX29" fmla="*/ 128944 w 589459"/>
              <a:gd name="connsiteY29" fmla="*/ 345587 h 345586"/>
              <a:gd name="connsiteX30" fmla="*/ 255585 w 589459"/>
              <a:gd name="connsiteY30" fmla="*/ 240785 h 345586"/>
              <a:gd name="connsiteX31" fmla="*/ 294730 w 589459"/>
              <a:gd name="connsiteY31" fmla="*/ 262696 h 345586"/>
              <a:gd name="connsiteX32" fmla="*/ 333870 w 589459"/>
              <a:gd name="connsiteY32" fmla="*/ 240785 h 345586"/>
              <a:gd name="connsiteX33" fmla="*/ 460515 w 589459"/>
              <a:gd name="connsiteY33" fmla="*/ 345587 h 345586"/>
              <a:gd name="connsiteX34" fmla="*/ 589459 w 589459"/>
              <a:gd name="connsiteY34" fmla="*/ 216643 h 345586"/>
              <a:gd name="connsiteX35" fmla="*/ 559056 w 589459"/>
              <a:gd name="connsiteY35" fmla="*/ 133609 h 345586"/>
              <a:gd name="connsiteX36" fmla="*/ 128944 w 589459"/>
              <a:gd name="connsiteY36" fmla="*/ 320257 h 345586"/>
              <a:gd name="connsiteX37" fmla="*/ 25330 w 589459"/>
              <a:gd name="connsiteY37" fmla="*/ 216638 h 345586"/>
              <a:gd name="connsiteX38" fmla="*/ 128944 w 589459"/>
              <a:gd name="connsiteY38" fmla="*/ 113020 h 345586"/>
              <a:gd name="connsiteX39" fmla="*/ 232558 w 589459"/>
              <a:gd name="connsiteY39" fmla="*/ 216638 h 345586"/>
              <a:gd name="connsiteX40" fmla="*/ 128944 w 589459"/>
              <a:gd name="connsiteY40" fmla="*/ 320257 h 345586"/>
              <a:gd name="connsiteX41" fmla="*/ 294730 w 589459"/>
              <a:gd name="connsiteY41" fmla="*/ 244271 h 345586"/>
              <a:gd name="connsiteX42" fmla="*/ 267101 w 589459"/>
              <a:gd name="connsiteY42" fmla="*/ 216638 h 345586"/>
              <a:gd name="connsiteX43" fmla="*/ 294730 w 589459"/>
              <a:gd name="connsiteY43" fmla="*/ 189010 h 345586"/>
              <a:gd name="connsiteX44" fmla="*/ 322358 w 589459"/>
              <a:gd name="connsiteY44" fmla="*/ 216638 h 345586"/>
              <a:gd name="connsiteX45" fmla="*/ 294730 w 589459"/>
              <a:gd name="connsiteY45" fmla="*/ 244271 h 345586"/>
              <a:gd name="connsiteX46" fmla="*/ 460515 w 589459"/>
              <a:gd name="connsiteY46" fmla="*/ 320257 h 345586"/>
              <a:gd name="connsiteX47" fmla="*/ 356901 w 589459"/>
              <a:gd name="connsiteY47" fmla="*/ 216638 h 345586"/>
              <a:gd name="connsiteX48" fmla="*/ 460515 w 589459"/>
              <a:gd name="connsiteY48" fmla="*/ 113020 h 345586"/>
              <a:gd name="connsiteX49" fmla="*/ 564129 w 589459"/>
              <a:gd name="connsiteY49" fmla="*/ 216638 h 345586"/>
              <a:gd name="connsiteX50" fmla="*/ 460515 w 589459"/>
              <a:gd name="connsiteY50" fmla="*/ 320257 h 3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9459" h="345586">
                <a:moveTo>
                  <a:pt x="559056" y="133605"/>
                </a:moveTo>
                <a:lnTo>
                  <a:pt x="559119" y="133554"/>
                </a:lnTo>
                <a:lnTo>
                  <a:pt x="514362" y="82844"/>
                </a:lnTo>
                <a:lnTo>
                  <a:pt x="514337" y="82853"/>
                </a:lnTo>
                <a:cubicBezTo>
                  <a:pt x="497983" y="62567"/>
                  <a:pt x="474616" y="48201"/>
                  <a:pt x="447913" y="43414"/>
                </a:cubicBezTo>
                <a:lnTo>
                  <a:pt x="430895" y="21919"/>
                </a:lnTo>
                <a:lnTo>
                  <a:pt x="430840" y="21945"/>
                </a:lnTo>
                <a:cubicBezTo>
                  <a:pt x="420752" y="8636"/>
                  <a:pt x="404819" y="0"/>
                  <a:pt x="386828" y="0"/>
                </a:cubicBezTo>
                <a:cubicBezTo>
                  <a:pt x="356311" y="0"/>
                  <a:pt x="331566" y="24745"/>
                  <a:pt x="331566" y="55262"/>
                </a:cubicBezTo>
                <a:cubicBezTo>
                  <a:pt x="331566" y="59148"/>
                  <a:pt x="331975" y="62933"/>
                  <a:pt x="332741" y="66592"/>
                </a:cubicBezTo>
                <a:lnTo>
                  <a:pt x="332733" y="66592"/>
                </a:lnTo>
                <a:cubicBezTo>
                  <a:pt x="332733" y="66592"/>
                  <a:pt x="337486" y="89185"/>
                  <a:pt x="337486" y="89185"/>
                </a:cubicBezTo>
                <a:cubicBezTo>
                  <a:pt x="334055" y="94128"/>
                  <a:pt x="331006" y="99353"/>
                  <a:pt x="328400" y="104839"/>
                </a:cubicBezTo>
                <a:cubicBezTo>
                  <a:pt x="322678" y="91922"/>
                  <a:pt x="309765" y="82895"/>
                  <a:pt x="294730" y="82895"/>
                </a:cubicBezTo>
                <a:cubicBezTo>
                  <a:pt x="279694" y="82895"/>
                  <a:pt x="266781" y="91913"/>
                  <a:pt x="261059" y="104831"/>
                </a:cubicBezTo>
                <a:cubicBezTo>
                  <a:pt x="258436" y="99303"/>
                  <a:pt x="255354" y="94040"/>
                  <a:pt x="251884" y="89063"/>
                </a:cubicBezTo>
                <a:lnTo>
                  <a:pt x="256154" y="68781"/>
                </a:lnTo>
                <a:cubicBezTo>
                  <a:pt x="257248" y="64457"/>
                  <a:pt x="257893" y="59944"/>
                  <a:pt x="257893" y="55270"/>
                </a:cubicBezTo>
                <a:cubicBezTo>
                  <a:pt x="257888" y="24749"/>
                  <a:pt x="233144" y="0"/>
                  <a:pt x="202627" y="0"/>
                </a:cubicBezTo>
                <a:cubicBezTo>
                  <a:pt x="184631" y="0"/>
                  <a:pt x="168699" y="8636"/>
                  <a:pt x="158611" y="21945"/>
                </a:cubicBezTo>
                <a:lnTo>
                  <a:pt x="158556" y="21924"/>
                </a:lnTo>
                <a:lnTo>
                  <a:pt x="141495" y="43435"/>
                </a:lnTo>
                <a:cubicBezTo>
                  <a:pt x="118182" y="47628"/>
                  <a:pt x="97417" y="59118"/>
                  <a:pt x="81636" y="75476"/>
                </a:cubicBezTo>
                <a:lnTo>
                  <a:pt x="81615" y="75463"/>
                </a:lnTo>
                <a:lnTo>
                  <a:pt x="81164" y="75973"/>
                </a:lnTo>
                <a:cubicBezTo>
                  <a:pt x="79135" y="78103"/>
                  <a:pt x="77177" y="80309"/>
                  <a:pt x="75316" y="82600"/>
                </a:cubicBezTo>
                <a:lnTo>
                  <a:pt x="30370" y="133550"/>
                </a:lnTo>
                <a:lnTo>
                  <a:pt x="30416" y="133584"/>
                </a:lnTo>
                <a:cubicBezTo>
                  <a:pt x="11457" y="156046"/>
                  <a:pt x="0" y="185027"/>
                  <a:pt x="0" y="216643"/>
                </a:cubicBezTo>
                <a:cubicBezTo>
                  <a:pt x="0" y="287740"/>
                  <a:pt x="57847" y="345587"/>
                  <a:pt x="128944" y="345587"/>
                </a:cubicBezTo>
                <a:cubicBezTo>
                  <a:pt x="191789" y="345587"/>
                  <a:pt x="244255" y="300379"/>
                  <a:pt x="255585" y="240785"/>
                </a:cubicBezTo>
                <a:cubicBezTo>
                  <a:pt x="263707" y="253909"/>
                  <a:pt x="278191" y="262696"/>
                  <a:pt x="294730" y="262696"/>
                </a:cubicBezTo>
                <a:cubicBezTo>
                  <a:pt x="311268" y="262696"/>
                  <a:pt x="325743" y="253909"/>
                  <a:pt x="333870" y="240785"/>
                </a:cubicBezTo>
                <a:cubicBezTo>
                  <a:pt x="345212" y="300379"/>
                  <a:pt x="397670" y="345587"/>
                  <a:pt x="460515" y="345587"/>
                </a:cubicBezTo>
                <a:cubicBezTo>
                  <a:pt x="531616" y="345587"/>
                  <a:pt x="589459" y="287740"/>
                  <a:pt x="589459" y="216643"/>
                </a:cubicBezTo>
                <a:cubicBezTo>
                  <a:pt x="589459" y="185027"/>
                  <a:pt x="578011" y="156055"/>
                  <a:pt x="559056" y="133609"/>
                </a:cubicBezTo>
                <a:close/>
                <a:moveTo>
                  <a:pt x="128944" y="320257"/>
                </a:moveTo>
                <a:cubicBezTo>
                  <a:pt x="71720" y="320257"/>
                  <a:pt x="25330" y="273862"/>
                  <a:pt x="25330" y="216638"/>
                </a:cubicBezTo>
                <a:cubicBezTo>
                  <a:pt x="25330" y="159415"/>
                  <a:pt x="71725" y="113020"/>
                  <a:pt x="128944" y="113020"/>
                </a:cubicBezTo>
                <a:cubicBezTo>
                  <a:pt x="186164" y="113020"/>
                  <a:pt x="232558" y="159415"/>
                  <a:pt x="232558" y="216638"/>
                </a:cubicBezTo>
                <a:cubicBezTo>
                  <a:pt x="232558" y="273862"/>
                  <a:pt x="186164" y="320257"/>
                  <a:pt x="128944" y="320257"/>
                </a:cubicBezTo>
                <a:close/>
                <a:moveTo>
                  <a:pt x="294730" y="244271"/>
                </a:moveTo>
                <a:cubicBezTo>
                  <a:pt x="279467" y="244271"/>
                  <a:pt x="267101" y="231901"/>
                  <a:pt x="267101" y="216638"/>
                </a:cubicBezTo>
                <a:cubicBezTo>
                  <a:pt x="267101" y="201376"/>
                  <a:pt x="279471" y="189010"/>
                  <a:pt x="294730" y="189010"/>
                </a:cubicBezTo>
                <a:cubicBezTo>
                  <a:pt x="309988" y="189010"/>
                  <a:pt x="322358" y="201376"/>
                  <a:pt x="322358" y="216638"/>
                </a:cubicBezTo>
                <a:cubicBezTo>
                  <a:pt x="322358" y="231901"/>
                  <a:pt x="309984" y="244271"/>
                  <a:pt x="294730" y="244271"/>
                </a:cubicBezTo>
                <a:close/>
                <a:moveTo>
                  <a:pt x="460515" y="320257"/>
                </a:moveTo>
                <a:cubicBezTo>
                  <a:pt x="403295" y="320257"/>
                  <a:pt x="356901" y="273862"/>
                  <a:pt x="356901" y="216638"/>
                </a:cubicBezTo>
                <a:cubicBezTo>
                  <a:pt x="356901" y="159415"/>
                  <a:pt x="403299" y="113020"/>
                  <a:pt x="460515" y="113020"/>
                </a:cubicBezTo>
                <a:cubicBezTo>
                  <a:pt x="517730" y="113020"/>
                  <a:pt x="564129" y="159415"/>
                  <a:pt x="564129" y="216638"/>
                </a:cubicBezTo>
                <a:cubicBezTo>
                  <a:pt x="564129" y="273862"/>
                  <a:pt x="517730" y="320257"/>
                  <a:pt x="460515" y="320257"/>
                </a:cubicBezTo>
                <a:close/>
              </a:path>
            </a:pathLst>
          </a:custGeom>
          <a:gradFill>
            <a:gsLst>
              <a:gs pos="0">
                <a:srgbClr val="C03BC4"/>
              </a:gs>
              <a:gs pos="66000">
                <a:srgbClr val="2A446F"/>
              </a:gs>
            </a:gsLst>
            <a:path path="circle">
              <a:fillToRect l="100000" t="100000"/>
            </a:path>
          </a:gradFill>
          <a:ln w="41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6D74ECFA-16F8-E571-E48A-AF48759F3024}"/>
              </a:ext>
              <a:ext uri="{C183D7F6-B498-43B3-948B-1728B52AA6E4}">
                <adec:decorative xmlns:adec="http://schemas.microsoft.com/office/drawing/2017/decorative" val="1"/>
              </a:ext>
            </a:extLst>
          </p:cNvPr>
          <p:cNvGrpSpPr/>
          <p:nvPr/>
        </p:nvGrpSpPr>
        <p:grpSpPr>
          <a:xfrm>
            <a:off x="9245600" y="1397529"/>
            <a:ext cx="475928" cy="629244"/>
            <a:chOff x="9245600" y="1257829"/>
            <a:chExt cx="475928" cy="629244"/>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2" name="Freeform: Shape 161">
              <a:extLst>
                <a:ext uri="{FF2B5EF4-FFF2-40B4-BE49-F238E27FC236}">
                  <a16:creationId xmlns:a16="http://schemas.microsoft.com/office/drawing/2014/main" id="{42C03DAF-FD2D-B453-BADA-6854F1EB160A}"/>
                </a:ext>
              </a:extLst>
            </p:cNvPr>
            <p:cNvSpPr/>
            <p:nvPr/>
          </p:nvSpPr>
          <p:spPr>
            <a:xfrm>
              <a:off x="9245600" y="1555600"/>
              <a:ext cx="475928" cy="331473"/>
            </a:xfrm>
            <a:custGeom>
              <a:avLst/>
              <a:gdLst>
                <a:gd name="connsiteX0" fmla="*/ 347928 w 475928"/>
                <a:gd name="connsiteY0" fmla="*/ 158 h 331473"/>
                <a:gd name="connsiteX1" fmla="*/ 347928 w 475928"/>
                <a:gd name="connsiteY1" fmla="*/ 158 h 331473"/>
                <a:gd name="connsiteX2" fmla="*/ 241920 w 475928"/>
                <a:gd name="connsiteY2" fmla="*/ 69459 h 331473"/>
                <a:gd name="connsiteX3" fmla="*/ 137336 w 475928"/>
                <a:gd name="connsiteY3" fmla="*/ 1266 h 331473"/>
                <a:gd name="connsiteX4" fmla="*/ 136545 w 475928"/>
                <a:gd name="connsiteY4" fmla="*/ 158 h 331473"/>
                <a:gd name="connsiteX5" fmla="*/ 135279 w 475928"/>
                <a:gd name="connsiteY5" fmla="*/ 949 h 331473"/>
                <a:gd name="connsiteX6" fmla="*/ 0 w 475928"/>
                <a:gd name="connsiteY6" fmla="*/ 259166 h 331473"/>
                <a:gd name="connsiteX7" fmla="*/ 0 w 475928"/>
                <a:gd name="connsiteY7" fmla="*/ 264071 h 331473"/>
                <a:gd name="connsiteX8" fmla="*/ 791 w 475928"/>
                <a:gd name="connsiteY8" fmla="*/ 260432 h 331473"/>
                <a:gd name="connsiteX9" fmla="*/ 244926 w 475928"/>
                <a:gd name="connsiteY9" fmla="*/ 331473 h 331473"/>
                <a:gd name="connsiteX10" fmla="*/ 475138 w 475928"/>
                <a:gd name="connsiteY10" fmla="*/ 268976 h 331473"/>
                <a:gd name="connsiteX11" fmla="*/ 475929 w 475928"/>
                <a:gd name="connsiteY11" fmla="*/ 268501 h 331473"/>
                <a:gd name="connsiteX12" fmla="*/ 475929 w 475928"/>
                <a:gd name="connsiteY12" fmla="*/ 267552 h 331473"/>
                <a:gd name="connsiteX13" fmla="*/ 347928 w 475928"/>
                <a:gd name="connsiteY13" fmla="*/ 0 h 33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5928" h="331473">
                  <a:moveTo>
                    <a:pt x="347928" y="158"/>
                  </a:moveTo>
                  <a:lnTo>
                    <a:pt x="347928" y="158"/>
                  </a:lnTo>
                  <a:cubicBezTo>
                    <a:pt x="338435" y="10759"/>
                    <a:pt x="290652" y="69459"/>
                    <a:pt x="241920" y="69459"/>
                  </a:cubicBezTo>
                  <a:cubicBezTo>
                    <a:pt x="193188" y="69459"/>
                    <a:pt x="146513" y="12658"/>
                    <a:pt x="137336" y="1266"/>
                  </a:cubicBezTo>
                  <a:lnTo>
                    <a:pt x="136545" y="158"/>
                  </a:lnTo>
                  <a:lnTo>
                    <a:pt x="135279" y="949"/>
                  </a:lnTo>
                  <a:cubicBezTo>
                    <a:pt x="56801" y="54744"/>
                    <a:pt x="5063" y="134646"/>
                    <a:pt x="0" y="259166"/>
                  </a:cubicBezTo>
                  <a:lnTo>
                    <a:pt x="0" y="264071"/>
                  </a:lnTo>
                  <a:lnTo>
                    <a:pt x="791" y="260432"/>
                  </a:lnTo>
                  <a:cubicBezTo>
                    <a:pt x="74047" y="306791"/>
                    <a:pt x="158379" y="331473"/>
                    <a:pt x="244926" y="331473"/>
                  </a:cubicBezTo>
                  <a:cubicBezTo>
                    <a:pt x="325777" y="331473"/>
                    <a:pt x="405362" y="309955"/>
                    <a:pt x="475138" y="268976"/>
                  </a:cubicBezTo>
                  <a:lnTo>
                    <a:pt x="475929" y="268501"/>
                  </a:lnTo>
                  <a:lnTo>
                    <a:pt x="475929" y="267552"/>
                  </a:lnTo>
                  <a:cubicBezTo>
                    <a:pt x="473081" y="145247"/>
                    <a:pt x="423241" y="57434"/>
                    <a:pt x="347928" y="0"/>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4AAF24C8-35E5-F464-EB58-E8B50B02C0FD}"/>
                </a:ext>
              </a:extLst>
            </p:cNvPr>
            <p:cNvSpPr/>
            <p:nvPr/>
          </p:nvSpPr>
          <p:spPr>
            <a:xfrm>
              <a:off x="9317725" y="1257829"/>
              <a:ext cx="339444" cy="326884"/>
            </a:xfrm>
            <a:custGeom>
              <a:avLst/>
              <a:gdLst>
                <a:gd name="connsiteX0" fmla="*/ 68059 w 339444"/>
                <a:gd name="connsiteY0" fmla="*/ 266602 h 326884"/>
                <a:gd name="connsiteX1" fmla="*/ 68059 w 339444"/>
                <a:gd name="connsiteY1" fmla="*/ 266602 h 326884"/>
                <a:gd name="connsiteX2" fmla="*/ 74704 w 339444"/>
                <a:gd name="connsiteY2" fmla="*/ 273089 h 326884"/>
                <a:gd name="connsiteX3" fmla="*/ 169636 w 339444"/>
                <a:gd name="connsiteY3" fmla="*/ 326885 h 326884"/>
                <a:gd name="connsiteX4" fmla="*/ 254126 w 339444"/>
                <a:gd name="connsiteY4" fmla="*/ 281792 h 326884"/>
                <a:gd name="connsiteX5" fmla="*/ 271373 w 339444"/>
                <a:gd name="connsiteY5" fmla="*/ 266602 h 326884"/>
                <a:gd name="connsiteX6" fmla="*/ 271373 w 339444"/>
                <a:gd name="connsiteY6" fmla="*/ 266602 h 326884"/>
                <a:gd name="connsiteX7" fmla="*/ 320421 w 339444"/>
                <a:gd name="connsiteY7" fmla="*/ 302993 h 326884"/>
                <a:gd name="connsiteX8" fmla="*/ 169795 w 339444"/>
                <a:gd name="connsiteY8" fmla="*/ 0 h 326884"/>
                <a:gd name="connsiteX9" fmla="*/ 169795 w 339444"/>
                <a:gd name="connsiteY9" fmla="*/ 0 h 326884"/>
                <a:gd name="connsiteX10" fmla="*/ 19010 w 339444"/>
                <a:gd name="connsiteY10" fmla="*/ 302993 h 326884"/>
                <a:gd name="connsiteX11" fmla="*/ 68059 w 339444"/>
                <a:gd name="connsiteY11" fmla="*/ 266761 h 326884"/>
                <a:gd name="connsiteX12" fmla="*/ 169795 w 339444"/>
                <a:gd name="connsiteY12" fmla="*/ 50631 h 326884"/>
                <a:gd name="connsiteX13" fmla="*/ 169795 w 339444"/>
                <a:gd name="connsiteY13" fmla="*/ 50631 h 326884"/>
                <a:gd name="connsiteX14" fmla="*/ 287669 w 339444"/>
                <a:gd name="connsiteY14" fmla="*/ 174676 h 326884"/>
                <a:gd name="connsiteX15" fmla="*/ 240361 w 339444"/>
                <a:gd name="connsiteY15" fmla="*/ 263280 h 326884"/>
                <a:gd name="connsiteX16" fmla="*/ 169795 w 339444"/>
                <a:gd name="connsiteY16" fmla="*/ 298879 h 326884"/>
                <a:gd name="connsiteX17" fmla="*/ 90368 w 339444"/>
                <a:gd name="connsiteY17" fmla="*/ 256002 h 326884"/>
                <a:gd name="connsiteX18" fmla="*/ 60780 w 339444"/>
                <a:gd name="connsiteY18" fmla="*/ 213757 h 326884"/>
                <a:gd name="connsiteX19" fmla="*/ 138783 w 339444"/>
                <a:gd name="connsiteY19" fmla="*/ 256160 h 326884"/>
                <a:gd name="connsiteX20" fmla="*/ 162991 w 339444"/>
                <a:gd name="connsiteY20" fmla="*/ 277520 h 326884"/>
                <a:gd name="connsiteX21" fmla="*/ 187515 w 339444"/>
                <a:gd name="connsiteY21" fmla="*/ 252995 h 326884"/>
                <a:gd name="connsiteX22" fmla="*/ 162991 w 339444"/>
                <a:gd name="connsiteY22" fmla="*/ 228471 h 326884"/>
                <a:gd name="connsiteX23" fmla="*/ 141157 w 339444"/>
                <a:gd name="connsiteY23" fmla="*/ 241920 h 326884"/>
                <a:gd name="connsiteX24" fmla="*/ 52711 w 339444"/>
                <a:gd name="connsiteY24" fmla="*/ 182429 h 326884"/>
                <a:gd name="connsiteX25" fmla="*/ 51920 w 339444"/>
                <a:gd name="connsiteY25" fmla="*/ 174360 h 326884"/>
                <a:gd name="connsiteX26" fmla="*/ 169795 w 339444"/>
                <a:gd name="connsiteY26" fmla="*/ 50314 h 3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444" h="326884">
                  <a:moveTo>
                    <a:pt x="68059" y="266602"/>
                  </a:moveTo>
                  <a:lnTo>
                    <a:pt x="68059" y="266602"/>
                  </a:lnTo>
                  <a:cubicBezTo>
                    <a:pt x="70274" y="268817"/>
                    <a:pt x="72489" y="271033"/>
                    <a:pt x="74704" y="273089"/>
                  </a:cubicBezTo>
                  <a:cubicBezTo>
                    <a:pt x="99861" y="295873"/>
                    <a:pt x="133246" y="326885"/>
                    <a:pt x="169636" y="326885"/>
                  </a:cubicBezTo>
                  <a:cubicBezTo>
                    <a:pt x="201281" y="326885"/>
                    <a:pt x="230552" y="299354"/>
                    <a:pt x="254126" y="281792"/>
                  </a:cubicBezTo>
                  <a:cubicBezTo>
                    <a:pt x="260297" y="277203"/>
                    <a:pt x="265993" y="272140"/>
                    <a:pt x="271373" y="266602"/>
                  </a:cubicBezTo>
                  <a:lnTo>
                    <a:pt x="271373" y="266602"/>
                  </a:lnTo>
                  <a:cubicBezTo>
                    <a:pt x="271373" y="266602"/>
                    <a:pt x="286720" y="269450"/>
                    <a:pt x="320421" y="302993"/>
                  </a:cubicBezTo>
                  <a:cubicBezTo>
                    <a:pt x="320421" y="302993"/>
                    <a:pt x="418360" y="0"/>
                    <a:pt x="169795" y="0"/>
                  </a:cubicBezTo>
                  <a:lnTo>
                    <a:pt x="169795" y="0"/>
                  </a:lnTo>
                  <a:cubicBezTo>
                    <a:pt x="-78929" y="0"/>
                    <a:pt x="19010" y="302993"/>
                    <a:pt x="19010" y="302993"/>
                  </a:cubicBezTo>
                  <a:cubicBezTo>
                    <a:pt x="52553" y="269450"/>
                    <a:pt x="68059" y="266761"/>
                    <a:pt x="68059" y="266761"/>
                  </a:cubicBezTo>
                  <a:close/>
                  <a:moveTo>
                    <a:pt x="169795" y="50631"/>
                  </a:moveTo>
                  <a:lnTo>
                    <a:pt x="169795" y="50631"/>
                  </a:lnTo>
                  <a:cubicBezTo>
                    <a:pt x="169795" y="50631"/>
                    <a:pt x="196534" y="161702"/>
                    <a:pt x="287669" y="174676"/>
                  </a:cubicBezTo>
                  <a:cubicBezTo>
                    <a:pt x="285771" y="210909"/>
                    <a:pt x="267733" y="242869"/>
                    <a:pt x="240361" y="263280"/>
                  </a:cubicBezTo>
                  <a:cubicBezTo>
                    <a:pt x="220584" y="277994"/>
                    <a:pt x="196218" y="298879"/>
                    <a:pt x="169795" y="298879"/>
                  </a:cubicBezTo>
                  <a:cubicBezTo>
                    <a:pt x="139258" y="298879"/>
                    <a:pt x="111411" y="275146"/>
                    <a:pt x="90368" y="256002"/>
                  </a:cubicBezTo>
                  <a:cubicBezTo>
                    <a:pt x="77710" y="244293"/>
                    <a:pt x="67426" y="230053"/>
                    <a:pt x="60780" y="213757"/>
                  </a:cubicBezTo>
                  <a:cubicBezTo>
                    <a:pt x="78659" y="231477"/>
                    <a:pt x="105082" y="250780"/>
                    <a:pt x="138783" y="256160"/>
                  </a:cubicBezTo>
                  <a:cubicBezTo>
                    <a:pt x="140366" y="268185"/>
                    <a:pt x="150650" y="277520"/>
                    <a:pt x="162991" y="277520"/>
                  </a:cubicBezTo>
                  <a:cubicBezTo>
                    <a:pt x="176598" y="277520"/>
                    <a:pt x="187515" y="266602"/>
                    <a:pt x="187515" y="252995"/>
                  </a:cubicBezTo>
                  <a:cubicBezTo>
                    <a:pt x="187515" y="239388"/>
                    <a:pt x="176598" y="228471"/>
                    <a:pt x="162991" y="228471"/>
                  </a:cubicBezTo>
                  <a:cubicBezTo>
                    <a:pt x="153498" y="228471"/>
                    <a:pt x="145112" y="234009"/>
                    <a:pt x="141157" y="241920"/>
                  </a:cubicBezTo>
                  <a:cubicBezTo>
                    <a:pt x="97013" y="234642"/>
                    <a:pt x="65527" y="199517"/>
                    <a:pt x="52711" y="182429"/>
                  </a:cubicBezTo>
                  <a:cubicBezTo>
                    <a:pt x="52395" y="179739"/>
                    <a:pt x="52078" y="177049"/>
                    <a:pt x="51920" y="174360"/>
                  </a:cubicBezTo>
                  <a:cubicBezTo>
                    <a:pt x="143214" y="161385"/>
                    <a:pt x="169795" y="50314"/>
                    <a:pt x="169795" y="50314"/>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1C1F62F-0EE9-C05C-3D24-34A3604EC63A}"/>
              </a:ext>
              <a:ext uri="{C183D7F6-B498-43B3-948B-1728B52AA6E4}">
                <adec:decorative xmlns:adec="http://schemas.microsoft.com/office/drawing/2017/decorative" val="1"/>
              </a:ext>
            </a:extLst>
          </p:cNvPr>
          <p:cNvGrpSpPr/>
          <p:nvPr/>
        </p:nvGrpSpPr>
        <p:grpSpPr>
          <a:xfrm>
            <a:off x="10452939" y="1547681"/>
            <a:ext cx="652141" cy="590415"/>
            <a:chOff x="10426700" y="1407981"/>
            <a:chExt cx="652141" cy="590415"/>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5" name="Freeform: Shape 164">
              <a:extLst>
                <a:ext uri="{FF2B5EF4-FFF2-40B4-BE49-F238E27FC236}">
                  <a16:creationId xmlns:a16="http://schemas.microsoft.com/office/drawing/2014/main" id="{03736964-A44B-7962-B0DB-EC781BBCAC6B}"/>
                </a:ext>
              </a:extLst>
            </p:cNvPr>
            <p:cNvSpPr/>
            <p:nvPr/>
          </p:nvSpPr>
          <p:spPr>
            <a:xfrm>
              <a:off x="10588713" y="1603514"/>
              <a:ext cx="490128" cy="394882"/>
            </a:xfrm>
            <a:custGeom>
              <a:avLst/>
              <a:gdLst>
                <a:gd name="connsiteX0" fmla="*/ 168554 w 490128"/>
                <a:gd name="connsiteY0" fmla="*/ 182589 h 394882"/>
                <a:gd name="connsiteX1" fmla="*/ 263936 w 490128"/>
                <a:gd name="connsiteY1" fmla="*/ 248812 h 394882"/>
                <a:gd name="connsiteX2" fmla="*/ 262438 w 490128"/>
                <a:gd name="connsiteY2" fmla="*/ 149887 h 394882"/>
                <a:gd name="connsiteX3" fmla="*/ 368312 w 490128"/>
                <a:gd name="connsiteY3" fmla="*/ 0 h 394882"/>
                <a:gd name="connsiteX4" fmla="*/ 490129 w 490128"/>
                <a:gd name="connsiteY4" fmla="*/ 145799 h 394882"/>
                <a:gd name="connsiteX5" fmla="*/ 242952 w 490128"/>
                <a:gd name="connsiteY5" fmla="*/ 315034 h 394882"/>
                <a:gd name="connsiteX6" fmla="*/ 167464 w 490128"/>
                <a:gd name="connsiteY6" fmla="*/ 306995 h 394882"/>
                <a:gd name="connsiteX7" fmla="*/ 79576 w 490128"/>
                <a:gd name="connsiteY7" fmla="*/ 394883 h 394882"/>
                <a:gd name="connsiteX8" fmla="*/ 102195 w 490128"/>
                <a:gd name="connsiteY8" fmla="*/ 284784 h 394882"/>
                <a:gd name="connsiteX9" fmla="*/ 0 w 490128"/>
                <a:gd name="connsiteY9" fmla="*/ 176185 h 394882"/>
                <a:gd name="connsiteX10" fmla="*/ 98653 w 490128"/>
                <a:gd name="connsiteY10" fmla="*/ 189538 h 394882"/>
                <a:gd name="connsiteX11" fmla="*/ 168690 w 490128"/>
                <a:gd name="connsiteY11" fmla="*/ 182589 h 3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128" h="394882">
                  <a:moveTo>
                    <a:pt x="168554" y="182589"/>
                  </a:moveTo>
                  <a:cubicBezTo>
                    <a:pt x="180409" y="190765"/>
                    <a:pt x="263936" y="248812"/>
                    <a:pt x="263936" y="248812"/>
                  </a:cubicBezTo>
                  <a:cubicBezTo>
                    <a:pt x="263936" y="248812"/>
                    <a:pt x="262710" y="167464"/>
                    <a:pt x="262438" y="149887"/>
                  </a:cubicBezTo>
                  <a:cubicBezTo>
                    <a:pt x="327979" y="114323"/>
                    <a:pt x="367222" y="59410"/>
                    <a:pt x="368312" y="0"/>
                  </a:cubicBezTo>
                  <a:cubicBezTo>
                    <a:pt x="441211" y="29432"/>
                    <a:pt x="490129" y="83664"/>
                    <a:pt x="490129" y="145799"/>
                  </a:cubicBezTo>
                  <a:cubicBezTo>
                    <a:pt x="490129" y="239273"/>
                    <a:pt x="379485" y="315034"/>
                    <a:pt x="242952" y="315034"/>
                  </a:cubicBezTo>
                  <a:cubicBezTo>
                    <a:pt x="216654" y="315034"/>
                    <a:pt x="191310" y="312173"/>
                    <a:pt x="167464" y="306995"/>
                  </a:cubicBezTo>
                  <a:lnTo>
                    <a:pt x="79576" y="394883"/>
                  </a:lnTo>
                  <a:lnTo>
                    <a:pt x="102195" y="284784"/>
                  </a:lnTo>
                  <a:cubicBezTo>
                    <a:pt x="49599" y="259712"/>
                    <a:pt x="11855" y="221014"/>
                    <a:pt x="0" y="176185"/>
                  </a:cubicBezTo>
                  <a:cubicBezTo>
                    <a:pt x="30522" y="184769"/>
                    <a:pt x="63770" y="189538"/>
                    <a:pt x="98653" y="189538"/>
                  </a:cubicBezTo>
                  <a:cubicBezTo>
                    <a:pt x="122498" y="189538"/>
                    <a:pt x="145935" y="186949"/>
                    <a:pt x="168690" y="182589"/>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41E971F6-397D-A014-1280-30A87EE28324}"/>
                </a:ext>
              </a:extLst>
            </p:cNvPr>
            <p:cNvSpPr/>
            <p:nvPr/>
          </p:nvSpPr>
          <p:spPr>
            <a:xfrm>
              <a:off x="10426700" y="1407981"/>
              <a:ext cx="494216" cy="376487"/>
            </a:xfrm>
            <a:custGeom>
              <a:avLst/>
              <a:gdLst>
                <a:gd name="connsiteX0" fmla="*/ 247040 w 494216"/>
                <a:gd name="connsiteY0" fmla="*/ 0 h 376487"/>
                <a:gd name="connsiteX1" fmla="*/ 494217 w 494216"/>
                <a:gd name="connsiteY1" fmla="*/ 169236 h 376487"/>
                <a:gd name="connsiteX2" fmla="*/ 387933 w 494216"/>
                <a:gd name="connsiteY2" fmla="*/ 308221 h 376487"/>
                <a:gd name="connsiteX3" fmla="*/ 389023 w 494216"/>
                <a:gd name="connsiteY3" fmla="*/ 376488 h 376487"/>
                <a:gd name="connsiteX4" fmla="*/ 322665 w 494216"/>
                <a:gd name="connsiteY4" fmla="*/ 330432 h 376487"/>
                <a:gd name="connsiteX5" fmla="*/ 247040 w 494216"/>
                <a:gd name="connsiteY5" fmla="*/ 338471 h 376487"/>
                <a:gd name="connsiteX6" fmla="*/ 0 w 494216"/>
                <a:gd name="connsiteY6" fmla="*/ 169236 h 376487"/>
                <a:gd name="connsiteX7" fmla="*/ 247040 w 494216"/>
                <a:gd name="connsiteY7" fmla="*/ 0 h 37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216" h="376487">
                  <a:moveTo>
                    <a:pt x="247040" y="0"/>
                  </a:moveTo>
                  <a:cubicBezTo>
                    <a:pt x="383573" y="0"/>
                    <a:pt x="494217" y="75761"/>
                    <a:pt x="494217" y="169236"/>
                  </a:cubicBezTo>
                  <a:cubicBezTo>
                    <a:pt x="494217" y="226874"/>
                    <a:pt x="452112" y="277563"/>
                    <a:pt x="387933" y="308221"/>
                  </a:cubicBezTo>
                  <a:lnTo>
                    <a:pt x="389023" y="376488"/>
                  </a:lnTo>
                  <a:lnTo>
                    <a:pt x="322665" y="330432"/>
                  </a:lnTo>
                  <a:cubicBezTo>
                    <a:pt x="298819" y="335610"/>
                    <a:pt x="273475" y="338471"/>
                    <a:pt x="247040" y="338471"/>
                  </a:cubicBezTo>
                  <a:cubicBezTo>
                    <a:pt x="110643" y="338335"/>
                    <a:pt x="0" y="262574"/>
                    <a:pt x="0" y="169236"/>
                  </a:cubicBezTo>
                  <a:cubicBezTo>
                    <a:pt x="0" y="75897"/>
                    <a:pt x="110643" y="0"/>
                    <a:pt x="247040" y="0"/>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4" name="Group 173">
            <a:extLst>
              <a:ext uri="{FF2B5EF4-FFF2-40B4-BE49-F238E27FC236}">
                <a16:creationId xmlns:a16="http://schemas.microsoft.com/office/drawing/2014/main" id="{B98A1E3E-7434-7E65-1D5E-E1E173D60B52}"/>
              </a:ext>
              <a:ext uri="{C183D7F6-B498-43B3-948B-1728B52AA6E4}">
                <adec:decorative xmlns:adec="http://schemas.microsoft.com/office/drawing/2017/decorative" val="1"/>
              </a:ext>
            </a:extLst>
          </p:cNvPr>
          <p:cNvGrpSpPr/>
          <p:nvPr/>
        </p:nvGrpSpPr>
        <p:grpSpPr>
          <a:xfrm>
            <a:off x="10521763" y="3318123"/>
            <a:ext cx="431987" cy="545262"/>
            <a:chOff x="10663238" y="3017723"/>
            <a:chExt cx="514492" cy="649401"/>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70" name="Freeform: Shape 169">
              <a:extLst>
                <a:ext uri="{FF2B5EF4-FFF2-40B4-BE49-F238E27FC236}">
                  <a16:creationId xmlns:a16="http://schemas.microsoft.com/office/drawing/2014/main" id="{8D306660-2865-D069-AE81-73CE443871C5}"/>
                </a:ext>
              </a:extLst>
            </p:cNvPr>
            <p:cNvSpPr/>
            <p:nvPr/>
          </p:nvSpPr>
          <p:spPr>
            <a:xfrm>
              <a:off x="10663238" y="3017723"/>
              <a:ext cx="514492" cy="649401"/>
            </a:xfrm>
            <a:custGeom>
              <a:avLst/>
              <a:gdLst>
                <a:gd name="connsiteX0" fmla="*/ 50314 w 514492"/>
                <a:gd name="connsiteY0" fmla="*/ 472712 h 649401"/>
                <a:gd name="connsiteX1" fmla="*/ 62383 w 514492"/>
                <a:gd name="connsiteY1" fmla="*/ 460644 h 649401"/>
                <a:gd name="connsiteX2" fmla="*/ 168155 w 514492"/>
                <a:gd name="connsiteY2" fmla="*/ 460644 h 649401"/>
                <a:gd name="connsiteX3" fmla="*/ 180223 w 514492"/>
                <a:gd name="connsiteY3" fmla="*/ 472712 h 649401"/>
                <a:gd name="connsiteX4" fmla="*/ 180223 w 514492"/>
                <a:gd name="connsiteY4" fmla="*/ 570381 h 649401"/>
                <a:gd name="connsiteX5" fmla="*/ 168155 w 514492"/>
                <a:gd name="connsiteY5" fmla="*/ 582450 h 649401"/>
                <a:gd name="connsiteX6" fmla="*/ 62383 w 514492"/>
                <a:gd name="connsiteY6" fmla="*/ 582450 h 649401"/>
                <a:gd name="connsiteX7" fmla="*/ 50314 w 514492"/>
                <a:gd name="connsiteY7" fmla="*/ 570381 h 649401"/>
                <a:gd name="connsiteX8" fmla="*/ 50314 w 514492"/>
                <a:gd name="connsiteY8" fmla="*/ 472712 h 649401"/>
                <a:gd name="connsiteX9" fmla="*/ 50314 w 514492"/>
                <a:gd name="connsiteY9" fmla="*/ 472712 h 649401"/>
                <a:gd name="connsiteX10" fmla="*/ 50314 w 514492"/>
                <a:gd name="connsiteY10" fmla="*/ 276369 h 649401"/>
                <a:gd name="connsiteX11" fmla="*/ 62383 w 514492"/>
                <a:gd name="connsiteY11" fmla="*/ 264300 h 649401"/>
                <a:gd name="connsiteX12" fmla="*/ 168155 w 514492"/>
                <a:gd name="connsiteY12" fmla="*/ 264300 h 649401"/>
                <a:gd name="connsiteX13" fmla="*/ 180223 w 514492"/>
                <a:gd name="connsiteY13" fmla="*/ 276369 h 649401"/>
                <a:gd name="connsiteX14" fmla="*/ 180223 w 514492"/>
                <a:gd name="connsiteY14" fmla="*/ 374038 h 649401"/>
                <a:gd name="connsiteX15" fmla="*/ 168155 w 514492"/>
                <a:gd name="connsiteY15" fmla="*/ 386106 h 649401"/>
                <a:gd name="connsiteX16" fmla="*/ 62383 w 514492"/>
                <a:gd name="connsiteY16" fmla="*/ 386106 h 649401"/>
                <a:gd name="connsiteX17" fmla="*/ 50314 w 514492"/>
                <a:gd name="connsiteY17" fmla="*/ 374038 h 649401"/>
                <a:gd name="connsiteX18" fmla="*/ 50314 w 514492"/>
                <a:gd name="connsiteY18" fmla="*/ 276369 h 649401"/>
                <a:gd name="connsiteX19" fmla="*/ 50314 w 514492"/>
                <a:gd name="connsiteY19" fmla="*/ 276369 h 649401"/>
                <a:gd name="connsiteX20" fmla="*/ 50314 w 514492"/>
                <a:gd name="connsiteY20" fmla="*/ 80026 h 649401"/>
                <a:gd name="connsiteX21" fmla="*/ 62383 w 514492"/>
                <a:gd name="connsiteY21" fmla="*/ 67957 h 649401"/>
                <a:gd name="connsiteX22" fmla="*/ 168155 w 514492"/>
                <a:gd name="connsiteY22" fmla="*/ 67957 h 649401"/>
                <a:gd name="connsiteX23" fmla="*/ 180223 w 514492"/>
                <a:gd name="connsiteY23" fmla="*/ 80026 h 649401"/>
                <a:gd name="connsiteX24" fmla="*/ 180223 w 514492"/>
                <a:gd name="connsiteY24" fmla="*/ 177695 h 649401"/>
                <a:gd name="connsiteX25" fmla="*/ 168155 w 514492"/>
                <a:gd name="connsiteY25" fmla="*/ 189763 h 649401"/>
                <a:gd name="connsiteX26" fmla="*/ 62383 w 514492"/>
                <a:gd name="connsiteY26" fmla="*/ 189763 h 649401"/>
                <a:gd name="connsiteX27" fmla="*/ 50314 w 514492"/>
                <a:gd name="connsiteY27" fmla="*/ 177695 h 649401"/>
                <a:gd name="connsiteX28" fmla="*/ 50314 w 514492"/>
                <a:gd name="connsiteY28" fmla="*/ 80054 h 649401"/>
                <a:gd name="connsiteX29" fmla="*/ 50314 w 514492"/>
                <a:gd name="connsiteY29" fmla="*/ 80054 h 649401"/>
                <a:gd name="connsiteX30" fmla="*/ 229072 w 514492"/>
                <a:gd name="connsiteY30" fmla="*/ 507912 h 649401"/>
                <a:gd name="connsiteX31" fmla="*/ 433461 w 514492"/>
                <a:gd name="connsiteY31" fmla="*/ 507912 h 649401"/>
                <a:gd name="connsiteX32" fmla="*/ 446564 w 514492"/>
                <a:gd name="connsiteY32" fmla="*/ 521015 h 649401"/>
                <a:gd name="connsiteX33" fmla="*/ 433461 w 514492"/>
                <a:gd name="connsiteY33" fmla="*/ 534118 h 649401"/>
                <a:gd name="connsiteX34" fmla="*/ 229072 w 514492"/>
                <a:gd name="connsiteY34" fmla="*/ 534118 h 649401"/>
                <a:gd name="connsiteX35" fmla="*/ 215998 w 514492"/>
                <a:gd name="connsiteY35" fmla="*/ 521015 h 649401"/>
                <a:gd name="connsiteX36" fmla="*/ 229072 w 514492"/>
                <a:gd name="connsiteY36" fmla="*/ 507912 h 649401"/>
                <a:gd name="connsiteX37" fmla="*/ 229072 w 514492"/>
                <a:gd name="connsiteY37" fmla="*/ 507912 h 649401"/>
                <a:gd name="connsiteX38" fmla="*/ 229072 w 514492"/>
                <a:gd name="connsiteY38" fmla="*/ 311569 h 649401"/>
                <a:gd name="connsiteX39" fmla="*/ 433461 w 514492"/>
                <a:gd name="connsiteY39" fmla="*/ 311569 h 649401"/>
                <a:gd name="connsiteX40" fmla="*/ 446564 w 514492"/>
                <a:gd name="connsiteY40" fmla="*/ 324672 h 649401"/>
                <a:gd name="connsiteX41" fmla="*/ 433461 w 514492"/>
                <a:gd name="connsiteY41" fmla="*/ 337775 h 649401"/>
                <a:gd name="connsiteX42" fmla="*/ 229072 w 514492"/>
                <a:gd name="connsiteY42" fmla="*/ 337775 h 649401"/>
                <a:gd name="connsiteX43" fmla="*/ 215998 w 514492"/>
                <a:gd name="connsiteY43" fmla="*/ 324672 h 649401"/>
                <a:gd name="connsiteX44" fmla="*/ 229072 w 514492"/>
                <a:gd name="connsiteY44" fmla="*/ 311569 h 649401"/>
                <a:gd name="connsiteX45" fmla="*/ 229072 w 514492"/>
                <a:gd name="connsiteY45" fmla="*/ 311569 h 649401"/>
                <a:gd name="connsiteX46" fmla="*/ 229072 w 514492"/>
                <a:gd name="connsiteY46" fmla="*/ 115226 h 649401"/>
                <a:gd name="connsiteX47" fmla="*/ 433461 w 514492"/>
                <a:gd name="connsiteY47" fmla="*/ 115226 h 649401"/>
                <a:gd name="connsiteX48" fmla="*/ 446564 w 514492"/>
                <a:gd name="connsiteY48" fmla="*/ 128329 h 649401"/>
                <a:gd name="connsiteX49" fmla="*/ 433461 w 514492"/>
                <a:gd name="connsiteY49" fmla="*/ 141432 h 649401"/>
                <a:gd name="connsiteX50" fmla="*/ 229072 w 514492"/>
                <a:gd name="connsiteY50" fmla="*/ 141432 h 649401"/>
                <a:gd name="connsiteX51" fmla="*/ 215998 w 514492"/>
                <a:gd name="connsiteY51" fmla="*/ 128329 h 649401"/>
                <a:gd name="connsiteX52" fmla="*/ 229072 w 514492"/>
                <a:gd name="connsiteY52" fmla="*/ 115226 h 649401"/>
                <a:gd name="connsiteX53" fmla="*/ 229072 w 514492"/>
                <a:gd name="connsiteY53" fmla="*/ 115226 h 649401"/>
                <a:gd name="connsiteX54" fmla="*/ 0 w 514492"/>
                <a:gd name="connsiteY54" fmla="*/ 45027 h 649401"/>
                <a:gd name="connsiteX55" fmla="*/ 0 w 514492"/>
                <a:gd name="connsiteY55" fmla="*/ 604374 h 649401"/>
                <a:gd name="connsiteX56" fmla="*/ 45027 w 514492"/>
                <a:gd name="connsiteY56" fmla="*/ 649401 h 649401"/>
                <a:gd name="connsiteX57" fmla="*/ 469466 w 514492"/>
                <a:gd name="connsiteY57" fmla="*/ 649401 h 649401"/>
                <a:gd name="connsiteX58" fmla="*/ 514493 w 514492"/>
                <a:gd name="connsiteY58" fmla="*/ 604374 h 649401"/>
                <a:gd name="connsiteX59" fmla="*/ 514493 w 514492"/>
                <a:gd name="connsiteY59" fmla="*/ 45027 h 649401"/>
                <a:gd name="connsiteX60" fmla="*/ 469466 w 514492"/>
                <a:gd name="connsiteY60" fmla="*/ 0 h 649401"/>
                <a:gd name="connsiteX61" fmla="*/ 45027 w 514492"/>
                <a:gd name="connsiteY61" fmla="*/ 0 h 649401"/>
                <a:gd name="connsiteX62" fmla="*/ 0 w 514492"/>
                <a:gd name="connsiteY62" fmla="*/ 45027 h 649401"/>
                <a:gd name="connsiteX63" fmla="*/ 0 w 514492"/>
                <a:gd name="connsiteY63" fmla="*/ 45027 h 6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4492" h="649401">
                  <a:moveTo>
                    <a:pt x="50314" y="472712"/>
                  </a:moveTo>
                  <a:cubicBezTo>
                    <a:pt x="50314" y="466075"/>
                    <a:pt x="55745" y="460644"/>
                    <a:pt x="62383" y="460644"/>
                  </a:cubicBezTo>
                  <a:lnTo>
                    <a:pt x="168155" y="460644"/>
                  </a:lnTo>
                  <a:cubicBezTo>
                    <a:pt x="174792" y="460644"/>
                    <a:pt x="180223" y="466075"/>
                    <a:pt x="180223" y="472712"/>
                  </a:cubicBezTo>
                  <a:lnTo>
                    <a:pt x="180223" y="570381"/>
                  </a:lnTo>
                  <a:cubicBezTo>
                    <a:pt x="180223" y="577019"/>
                    <a:pt x="174792" y="582450"/>
                    <a:pt x="168155" y="582450"/>
                  </a:cubicBezTo>
                  <a:lnTo>
                    <a:pt x="62383" y="582450"/>
                  </a:lnTo>
                  <a:cubicBezTo>
                    <a:pt x="55745" y="582450"/>
                    <a:pt x="50314" y="577019"/>
                    <a:pt x="50314" y="570381"/>
                  </a:cubicBezTo>
                  <a:lnTo>
                    <a:pt x="50314" y="472712"/>
                  </a:lnTo>
                  <a:lnTo>
                    <a:pt x="50314" y="472712"/>
                  </a:lnTo>
                  <a:close/>
                  <a:moveTo>
                    <a:pt x="50314" y="276369"/>
                  </a:moveTo>
                  <a:cubicBezTo>
                    <a:pt x="50314" y="269731"/>
                    <a:pt x="55745" y="264300"/>
                    <a:pt x="62383" y="264300"/>
                  </a:cubicBezTo>
                  <a:lnTo>
                    <a:pt x="168155" y="264300"/>
                  </a:lnTo>
                  <a:cubicBezTo>
                    <a:pt x="174792" y="264300"/>
                    <a:pt x="180223" y="269731"/>
                    <a:pt x="180223" y="276369"/>
                  </a:cubicBezTo>
                  <a:lnTo>
                    <a:pt x="180223" y="374038"/>
                  </a:lnTo>
                  <a:cubicBezTo>
                    <a:pt x="180223" y="380675"/>
                    <a:pt x="174792" y="386106"/>
                    <a:pt x="168155" y="386106"/>
                  </a:cubicBezTo>
                  <a:lnTo>
                    <a:pt x="62383" y="386106"/>
                  </a:lnTo>
                  <a:cubicBezTo>
                    <a:pt x="55745" y="386106"/>
                    <a:pt x="50314" y="380675"/>
                    <a:pt x="50314" y="374038"/>
                  </a:cubicBezTo>
                  <a:lnTo>
                    <a:pt x="50314" y="276369"/>
                  </a:lnTo>
                  <a:lnTo>
                    <a:pt x="50314" y="276369"/>
                  </a:lnTo>
                  <a:close/>
                  <a:moveTo>
                    <a:pt x="50314" y="80026"/>
                  </a:moveTo>
                  <a:cubicBezTo>
                    <a:pt x="50314" y="73388"/>
                    <a:pt x="55745" y="67957"/>
                    <a:pt x="62383" y="67957"/>
                  </a:cubicBezTo>
                  <a:lnTo>
                    <a:pt x="168155" y="67957"/>
                  </a:lnTo>
                  <a:cubicBezTo>
                    <a:pt x="174792" y="67957"/>
                    <a:pt x="180223" y="73388"/>
                    <a:pt x="180223" y="80026"/>
                  </a:cubicBezTo>
                  <a:lnTo>
                    <a:pt x="180223" y="177695"/>
                  </a:lnTo>
                  <a:cubicBezTo>
                    <a:pt x="180223" y="184332"/>
                    <a:pt x="174792" y="189763"/>
                    <a:pt x="168155" y="189763"/>
                  </a:cubicBezTo>
                  <a:lnTo>
                    <a:pt x="62383" y="189763"/>
                  </a:lnTo>
                  <a:cubicBezTo>
                    <a:pt x="55745" y="189763"/>
                    <a:pt x="50314" y="184332"/>
                    <a:pt x="50314" y="177695"/>
                  </a:cubicBezTo>
                  <a:lnTo>
                    <a:pt x="50314" y="80054"/>
                  </a:lnTo>
                  <a:lnTo>
                    <a:pt x="50314" y="80054"/>
                  </a:lnTo>
                  <a:close/>
                  <a:moveTo>
                    <a:pt x="229072" y="507912"/>
                  </a:moveTo>
                  <a:lnTo>
                    <a:pt x="433461" y="507912"/>
                  </a:lnTo>
                  <a:cubicBezTo>
                    <a:pt x="440702" y="507912"/>
                    <a:pt x="446564" y="513774"/>
                    <a:pt x="446564" y="521015"/>
                  </a:cubicBezTo>
                  <a:cubicBezTo>
                    <a:pt x="446564" y="528256"/>
                    <a:pt x="440702" y="534118"/>
                    <a:pt x="433461" y="534118"/>
                  </a:cubicBezTo>
                  <a:lnTo>
                    <a:pt x="229072" y="534118"/>
                  </a:lnTo>
                  <a:cubicBezTo>
                    <a:pt x="221831" y="534118"/>
                    <a:pt x="215998" y="528256"/>
                    <a:pt x="215998" y="521015"/>
                  </a:cubicBezTo>
                  <a:cubicBezTo>
                    <a:pt x="215998" y="513774"/>
                    <a:pt x="221860" y="507912"/>
                    <a:pt x="229072" y="507912"/>
                  </a:cubicBezTo>
                  <a:lnTo>
                    <a:pt x="229072" y="507912"/>
                  </a:lnTo>
                  <a:close/>
                  <a:moveTo>
                    <a:pt x="229072" y="311569"/>
                  </a:moveTo>
                  <a:lnTo>
                    <a:pt x="433461" y="311569"/>
                  </a:lnTo>
                  <a:cubicBezTo>
                    <a:pt x="440702" y="311569"/>
                    <a:pt x="446564" y="317431"/>
                    <a:pt x="446564" y="324672"/>
                  </a:cubicBezTo>
                  <a:cubicBezTo>
                    <a:pt x="446564" y="331913"/>
                    <a:pt x="440702" y="337775"/>
                    <a:pt x="433461" y="337775"/>
                  </a:cubicBezTo>
                  <a:lnTo>
                    <a:pt x="229072" y="337775"/>
                  </a:lnTo>
                  <a:cubicBezTo>
                    <a:pt x="221831" y="337775"/>
                    <a:pt x="215998" y="331913"/>
                    <a:pt x="215998" y="324672"/>
                  </a:cubicBezTo>
                  <a:cubicBezTo>
                    <a:pt x="215998" y="317431"/>
                    <a:pt x="221860" y="311569"/>
                    <a:pt x="229072" y="311569"/>
                  </a:cubicBezTo>
                  <a:lnTo>
                    <a:pt x="229072" y="311569"/>
                  </a:lnTo>
                  <a:close/>
                  <a:moveTo>
                    <a:pt x="229072" y="115226"/>
                  </a:moveTo>
                  <a:lnTo>
                    <a:pt x="433461" y="115226"/>
                  </a:lnTo>
                  <a:cubicBezTo>
                    <a:pt x="440702" y="115226"/>
                    <a:pt x="446564" y="121087"/>
                    <a:pt x="446564" y="128329"/>
                  </a:cubicBezTo>
                  <a:cubicBezTo>
                    <a:pt x="446564" y="135570"/>
                    <a:pt x="440702" y="141432"/>
                    <a:pt x="433461" y="141432"/>
                  </a:cubicBezTo>
                  <a:lnTo>
                    <a:pt x="229072" y="141432"/>
                  </a:lnTo>
                  <a:cubicBezTo>
                    <a:pt x="221831" y="141432"/>
                    <a:pt x="215998" y="135570"/>
                    <a:pt x="215998" y="128329"/>
                  </a:cubicBezTo>
                  <a:cubicBezTo>
                    <a:pt x="215998" y="121087"/>
                    <a:pt x="221860" y="115226"/>
                    <a:pt x="229072" y="115226"/>
                  </a:cubicBezTo>
                  <a:lnTo>
                    <a:pt x="229072" y="115226"/>
                  </a:lnTo>
                  <a:close/>
                  <a:moveTo>
                    <a:pt x="0" y="45027"/>
                  </a:moveTo>
                  <a:lnTo>
                    <a:pt x="0" y="604374"/>
                  </a:lnTo>
                  <a:cubicBezTo>
                    <a:pt x="0" y="629143"/>
                    <a:pt x="20258" y="649401"/>
                    <a:pt x="45027" y="649401"/>
                  </a:cubicBezTo>
                  <a:lnTo>
                    <a:pt x="469466" y="649401"/>
                  </a:lnTo>
                  <a:cubicBezTo>
                    <a:pt x="494235" y="649401"/>
                    <a:pt x="514493" y="629143"/>
                    <a:pt x="514493" y="604374"/>
                  </a:cubicBezTo>
                  <a:lnTo>
                    <a:pt x="514493" y="45027"/>
                  </a:lnTo>
                  <a:cubicBezTo>
                    <a:pt x="514493" y="20258"/>
                    <a:pt x="494235" y="0"/>
                    <a:pt x="469466" y="0"/>
                  </a:cubicBezTo>
                  <a:lnTo>
                    <a:pt x="45027" y="0"/>
                  </a:lnTo>
                  <a:cubicBezTo>
                    <a:pt x="20258" y="0"/>
                    <a:pt x="0" y="20258"/>
                    <a:pt x="0" y="45027"/>
                  </a:cubicBezTo>
                  <a:lnTo>
                    <a:pt x="0" y="45027"/>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A6B78292-5C03-4267-DCAF-FE7B8891346C}"/>
                </a:ext>
              </a:extLst>
            </p:cNvPr>
            <p:cNvSpPr/>
            <p:nvPr/>
          </p:nvSpPr>
          <p:spPr>
            <a:xfrm>
              <a:off x="10727688" y="3104828"/>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A330029D-548E-9CDE-3028-D908CC4EA307}"/>
                </a:ext>
              </a:extLst>
            </p:cNvPr>
            <p:cNvSpPr/>
            <p:nvPr/>
          </p:nvSpPr>
          <p:spPr>
            <a:xfrm>
              <a:off x="10727688" y="330117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9B38D947-4FB2-5B6A-61F9-745D2311E584}"/>
                </a:ext>
              </a:extLst>
            </p:cNvPr>
            <p:cNvSpPr/>
            <p:nvPr/>
          </p:nvSpPr>
          <p:spPr>
            <a:xfrm>
              <a:off x="10727688" y="349849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378276B6-6568-A86F-0EAE-C05F4C2EE490}"/>
              </a:ext>
              <a:ext uri="{C183D7F6-B498-43B3-948B-1728B52AA6E4}">
                <adec:decorative xmlns:adec="http://schemas.microsoft.com/office/drawing/2017/decorative" val="1"/>
              </a:ext>
            </a:extLst>
          </p:cNvPr>
          <p:cNvGrpSpPr/>
          <p:nvPr/>
        </p:nvGrpSpPr>
        <p:grpSpPr>
          <a:xfrm>
            <a:off x="4657666" y="5049780"/>
            <a:ext cx="566926" cy="358938"/>
            <a:chOff x="4751403" y="52021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51" name="Freeform: Shape 150">
              <a:extLst>
                <a:ext uri="{FF2B5EF4-FFF2-40B4-BE49-F238E27FC236}">
                  <a16:creationId xmlns:a16="http://schemas.microsoft.com/office/drawing/2014/main" id="{BA3B5A84-96DF-3976-12B6-FBA3A93B1B58}"/>
                </a:ext>
              </a:extLst>
            </p:cNvPr>
            <p:cNvSpPr/>
            <p:nvPr/>
          </p:nvSpPr>
          <p:spPr>
            <a:xfrm>
              <a:off x="4816927" y="52564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3EF6046A-62A9-D977-6AA4-FA32E7C91234}"/>
                </a:ext>
              </a:extLst>
            </p:cNvPr>
            <p:cNvSpPr/>
            <p:nvPr/>
          </p:nvSpPr>
          <p:spPr>
            <a:xfrm>
              <a:off x="4868869" y="54194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AFD1E074-D3DC-9B23-D1E9-424617ECA8B8}"/>
                </a:ext>
              </a:extLst>
            </p:cNvPr>
            <p:cNvSpPr/>
            <p:nvPr/>
          </p:nvSpPr>
          <p:spPr>
            <a:xfrm>
              <a:off x="4910868" y="54594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C4B8F47-D86F-B8E0-33F2-C2530F9CE368}"/>
                </a:ext>
              </a:extLst>
            </p:cNvPr>
            <p:cNvSpPr/>
            <p:nvPr/>
          </p:nvSpPr>
          <p:spPr>
            <a:xfrm>
              <a:off x="4955534" y="54989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0137D403-E637-1ADB-CB9A-3387DAB65E84}"/>
                </a:ext>
              </a:extLst>
            </p:cNvPr>
            <p:cNvSpPr/>
            <p:nvPr/>
          </p:nvSpPr>
          <p:spPr>
            <a:xfrm>
              <a:off x="4834886" y="54147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1A3E1723-B0A7-00C5-A3C1-329A0CAA1240}"/>
                </a:ext>
              </a:extLst>
            </p:cNvPr>
            <p:cNvSpPr/>
            <p:nvPr/>
          </p:nvSpPr>
          <p:spPr>
            <a:xfrm>
              <a:off x="4924931" y="52461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5D8F644-97A6-ADE4-9749-631DFEBC7CF3}"/>
                </a:ext>
              </a:extLst>
            </p:cNvPr>
            <p:cNvSpPr/>
            <p:nvPr/>
          </p:nvSpPr>
          <p:spPr>
            <a:xfrm>
              <a:off x="4751403" y="52021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CD1F3F50-346F-DF17-2682-7C38EF923319}"/>
                </a:ext>
              </a:extLst>
            </p:cNvPr>
            <p:cNvSpPr/>
            <p:nvPr/>
          </p:nvSpPr>
          <p:spPr>
            <a:xfrm>
              <a:off x="5180104" y="52021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0" name="Graphic 13">
            <a:extLst>
              <a:ext uri="{FF2B5EF4-FFF2-40B4-BE49-F238E27FC236}">
                <a16:creationId xmlns:a16="http://schemas.microsoft.com/office/drawing/2014/main" id="{91CC2B73-2BAC-D54A-62D0-D6340B4358F6}"/>
              </a:ext>
              <a:ext uri="{C183D7F6-B498-43B3-948B-1728B52AA6E4}">
                <adec:decorative xmlns:adec="http://schemas.microsoft.com/office/drawing/2017/decorative" val="1"/>
              </a:ext>
            </a:extLst>
          </p:cNvPr>
          <p:cNvSpPr/>
          <p:nvPr/>
        </p:nvSpPr>
        <p:spPr>
          <a:xfrm>
            <a:off x="6344525" y="4884737"/>
            <a:ext cx="356806" cy="462248"/>
          </a:xfrm>
          <a:custGeom>
            <a:avLst/>
            <a:gdLst>
              <a:gd name="connsiteX0" fmla="*/ 51816 w 356806"/>
              <a:gd name="connsiteY0" fmla="*/ 244316 h 462248"/>
              <a:gd name="connsiteX1" fmla="*/ 310991 w 356806"/>
              <a:gd name="connsiteY1" fmla="*/ 244316 h 462248"/>
              <a:gd name="connsiteX2" fmla="*/ 320993 w 356806"/>
              <a:gd name="connsiteY2" fmla="*/ 254318 h 462248"/>
              <a:gd name="connsiteX3" fmla="*/ 310991 w 356806"/>
              <a:gd name="connsiteY3" fmla="*/ 264319 h 462248"/>
              <a:gd name="connsiteX4" fmla="*/ 51816 w 356806"/>
              <a:gd name="connsiteY4" fmla="*/ 264319 h 462248"/>
              <a:gd name="connsiteX5" fmla="*/ 41815 w 356806"/>
              <a:gd name="connsiteY5" fmla="*/ 254318 h 462248"/>
              <a:gd name="connsiteX6" fmla="*/ 51816 w 356806"/>
              <a:gd name="connsiteY6" fmla="*/ 244316 h 462248"/>
              <a:gd name="connsiteX7" fmla="*/ 51816 w 356806"/>
              <a:gd name="connsiteY7" fmla="*/ 244316 h 462248"/>
              <a:gd name="connsiteX8" fmla="*/ 51816 w 356806"/>
              <a:gd name="connsiteY8" fmla="*/ 164497 h 462248"/>
              <a:gd name="connsiteX9" fmla="*/ 310991 w 356806"/>
              <a:gd name="connsiteY9" fmla="*/ 164497 h 462248"/>
              <a:gd name="connsiteX10" fmla="*/ 320993 w 356806"/>
              <a:gd name="connsiteY10" fmla="*/ 174498 h 462248"/>
              <a:gd name="connsiteX11" fmla="*/ 310991 w 356806"/>
              <a:gd name="connsiteY11" fmla="*/ 184499 h 462248"/>
              <a:gd name="connsiteX12" fmla="*/ 51816 w 356806"/>
              <a:gd name="connsiteY12" fmla="*/ 184499 h 462248"/>
              <a:gd name="connsiteX13" fmla="*/ 41815 w 356806"/>
              <a:gd name="connsiteY13" fmla="*/ 174498 h 462248"/>
              <a:gd name="connsiteX14" fmla="*/ 51816 w 356806"/>
              <a:gd name="connsiteY14" fmla="*/ 164497 h 462248"/>
              <a:gd name="connsiteX15" fmla="*/ 51816 w 356806"/>
              <a:gd name="connsiteY15" fmla="*/ 164497 h 462248"/>
              <a:gd name="connsiteX16" fmla="*/ 51816 w 356806"/>
              <a:gd name="connsiteY16" fmla="*/ 84677 h 462248"/>
              <a:gd name="connsiteX17" fmla="*/ 310991 w 356806"/>
              <a:gd name="connsiteY17" fmla="*/ 84677 h 462248"/>
              <a:gd name="connsiteX18" fmla="*/ 320993 w 356806"/>
              <a:gd name="connsiteY18" fmla="*/ 94678 h 462248"/>
              <a:gd name="connsiteX19" fmla="*/ 310991 w 356806"/>
              <a:gd name="connsiteY19" fmla="*/ 104680 h 462248"/>
              <a:gd name="connsiteX20" fmla="*/ 51816 w 356806"/>
              <a:gd name="connsiteY20" fmla="*/ 104680 h 462248"/>
              <a:gd name="connsiteX21" fmla="*/ 41815 w 356806"/>
              <a:gd name="connsiteY21" fmla="*/ 94678 h 462248"/>
              <a:gd name="connsiteX22" fmla="*/ 51816 w 356806"/>
              <a:gd name="connsiteY22" fmla="*/ 84677 h 462248"/>
              <a:gd name="connsiteX23" fmla="*/ 51816 w 356806"/>
              <a:gd name="connsiteY23" fmla="*/ 84677 h 462248"/>
              <a:gd name="connsiteX24" fmla="*/ 270986 w 356806"/>
              <a:gd name="connsiteY24" fmla="*/ 397193 h 462248"/>
              <a:gd name="connsiteX25" fmla="*/ 268891 w 356806"/>
              <a:gd name="connsiteY25" fmla="*/ 395954 h 462248"/>
              <a:gd name="connsiteX26" fmla="*/ 216408 w 356806"/>
              <a:gd name="connsiteY26" fmla="*/ 367665 h 462248"/>
              <a:gd name="connsiteX27" fmla="*/ 229553 w 356806"/>
              <a:gd name="connsiteY27" fmla="*/ 347853 h 462248"/>
              <a:gd name="connsiteX28" fmla="*/ 266414 w 356806"/>
              <a:gd name="connsiteY28" fmla="*/ 377476 h 462248"/>
              <a:gd name="connsiteX29" fmla="*/ 298895 w 356806"/>
              <a:gd name="connsiteY29" fmla="*/ 313087 h 462248"/>
              <a:gd name="connsiteX30" fmla="*/ 319469 w 356806"/>
              <a:gd name="connsiteY30" fmla="*/ 325088 h 462248"/>
              <a:gd name="connsiteX31" fmla="*/ 271082 w 356806"/>
              <a:gd name="connsiteY31" fmla="*/ 397097 h 462248"/>
              <a:gd name="connsiteX32" fmla="*/ 271082 w 356806"/>
              <a:gd name="connsiteY32" fmla="*/ 397097 h 462248"/>
              <a:gd name="connsiteX33" fmla="*/ 157448 w 356806"/>
              <a:gd name="connsiteY33" fmla="*/ 396240 h 462248"/>
              <a:gd name="connsiteX34" fmla="*/ 52769 w 356806"/>
              <a:gd name="connsiteY34" fmla="*/ 396240 h 462248"/>
              <a:gd name="connsiteX35" fmla="*/ 42767 w 356806"/>
              <a:gd name="connsiteY35" fmla="*/ 386239 h 462248"/>
              <a:gd name="connsiteX36" fmla="*/ 52769 w 356806"/>
              <a:gd name="connsiteY36" fmla="*/ 376238 h 462248"/>
              <a:gd name="connsiteX37" fmla="*/ 157448 w 356806"/>
              <a:gd name="connsiteY37" fmla="*/ 376238 h 462248"/>
              <a:gd name="connsiteX38" fmla="*/ 167450 w 356806"/>
              <a:gd name="connsiteY38" fmla="*/ 386239 h 462248"/>
              <a:gd name="connsiteX39" fmla="*/ 157448 w 356806"/>
              <a:gd name="connsiteY39" fmla="*/ 396240 h 462248"/>
              <a:gd name="connsiteX40" fmla="*/ 157448 w 356806"/>
              <a:gd name="connsiteY40" fmla="*/ 396240 h 462248"/>
              <a:gd name="connsiteX41" fmla="*/ 39815 w 356806"/>
              <a:gd name="connsiteY41" fmla="*/ 462153 h 462248"/>
              <a:gd name="connsiteX42" fmla="*/ 316897 w 356806"/>
              <a:gd name="connsiteY42" fmla="*/ 462153 h 462248"/>
              <a:gd name="connsiteX43" fmla="*/ 356807 w 356806"/>
              <a:gd name="connsiteY43" fmla="*/ 422243 h 462248"/>
              <a:gd name="connsiteX44" fmla="*/ 356807 w 356806"/>
              <a:gd name="connsiteY44" fmla="*/ 39910 h 462248"/>
              <a:gd name="connsiteX45" fmla="*/ 316897 w 356806"/>
              <a:gd name="connsiteY45" fmla="*/ 0 h 462248"/>
              <a:gd name="connsiteX46" fmla="*/ 39910 w 356806"/>
              <a:gd name="connsiteY46" fmla="*/ 0 h 462248"/>
              <a:gd name="connsiteX47" fmla="*/ 0 w 356806"/>
              <a:gd name="connsiteY47" fmla="*/ 39910 h 462248"/>
              <a:gd name="connsiteX48" fmla="*/ 0 w 356806"/>
              <a:gd name="connsiteY48" fmla="*/ 422339 h 462248"/>
              <a:gd name="connsiteX49" fmla="*/ 39910 w 356806"/>
              <a:gd name="connsiteY49" fmla="*/ 462248 h 462248"/>
              <a:gd name="connsiteX50" fmla="*/ 39910 w 356806"/>
              <a:gd name="connsiteY50" fmla="*/ 462248 h 46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56806" h="462248">
                <a:moveTo>
                  <a:pt x="51816" y="244316"/>
                </a:moveTo>
                <a:lnTo>
                  <a:pt x="310991" y="244316"/>
                </a:lnTo>
                <a:cubicBezTo>
                  <a:pt x="316516" y="244316"/>
                  <a:pt x="320993" y="248793"/>
                  <a:pt x="320993" y="254318"/>
                </a:cubicBezTo>
                <a:cubicBezTo>
                  <a:pt x="320993" y="259842"/>
                  <a:pt x="316516" y="264319"/>
                  <a:pt x="310991" y="264319"/>
                </a:cubicBezTo>
                <a:lnTo>
                  <a:pt x="51816" y="264319"/>
                </a:lnTo>
                <a:cubicBezTo>
                  <a:pt x="46292" y="264319"/>
                  <a:pt x="41815" y="259842"/>
                  <a:pt x="41815" y="254318"/>
                </a:cubicBezTo>
                <a:cubicBezTo>
                  <a:pt x="41815" y="248793"/>
                  <a:pt x="46292" y="244316"/>
                  <a:pt x="51816" y="244316"/>
                </a:cubicBezTo>
                <a:lnTo>
                  <a:pt x="51816" y="244316"/>
                </a:lnTo>
                <a:close/>
                <a:moveTo>
                  <a:pt x="51816" y="164497"/>
                </a:moveTo>
                <a:lnTo>
                  <a:pt x="310991" y="164497"/>
                </a:lnTo>
                <a:cubicBezTo>
                  <a:pt x="316516" y="164497"/>
                  <a:pt x="320993" y="168974"/>
                  <a:pt x="320993" y="174498"/>
                </a:cubicBezTo>
                <a:cubicBezTo>
                  <a:pt x="320993" y="180023"/>
                  <a:pt x="316516" y="184499"/>
                  <a:pt x="310991" y="184499"/>
                </a:cubicBezTo>
                <a:lnTo>
                  <a:pt x="51816" y="184499"/>
                </a:lnTo>
                <a:cubicBezTo>
                  <a:pt x="46292" y="184499"/>
                  <a:pt x="41815" y="180023"/>
                  <a:pt x="41815" y="174498"/>
                </a:cubicBezTo>
                <a:cubicBezTo>
                  <a:pt x="41815" y="168974"/>
                  <a:pt x="46292" y="164497"/>
                  <a:pt x="51816" y="164497"/>
                </a:cubicBezTo>
                <a:lnTo>
                  <a:pt x="51816" y="164497"/>
                </a:lnTo>
                <a:close/>
                <a:moveTo>
                  <a:pt x="51816" y="84677"/>
                </a:moveTo>
                <a:lnTo>
                  <a:pt x="310991" y="84677"/>
                </a:lnTo>
                <a:cubicBezTo>
                  <a:pt x="316516" y="84677"/>
                  <a:pt x="320993" y="89154"/>
                  <a:pt x="320993" y="94678"/>
                </a:cubicBezTo>
                <a:cubicBezTo>
                  <a:pt x="320993" y="100203"/>
                  <a:pt x="316516" y="104680"/>
                  <a:pt x="310991" y="104680"/>
                </a:cubicBezTo>
                <a:lnTo>
                  <a:pt x="51816" y="104680"/>
                </a:lnTo>
                <a:cubicBezTo>
                  <a:pt x="46292" y="104680"/>
                  <a:pt x="41815" y="100203"/>
                  <a:pt x="41815" y="94678"/>
                </a:cubicBezTo>
                <a:cubicBezTo>
                  <a:pt x="41815" y="89154"/>
                  <a:pt x="46292" y="84677"/>
                  <a:pt x="51816" y="84677"/>
                </a:cubicBezTo>
                <a:lnTo>
                  <a:pt x="51816" y="84677"/>
                </a:lnTo>
                <a:close/>
                <a:moveTo>
                  <a:pt x="270986" y="397193"/>
                </a:moveTo>
                <a:lnTo>
                  <a:pt x="268891" y="395954"/>
                </a:lnTo>
                <a:lnTo>
                  <a:pt x="216408" y="367665"/>
                </a:lnTo>
                <a:lnTo>
                  <a:pt x="229553" y="347853"/>
                </a:lnTo>
                <a:lnTo>
                  <a:pt x="266414" y="377476"/>
                </a:lnTo>
                <a:lnTo>
                  <a:pt x="298895" y="313087"/>
                </a:lnTo>
                <a:lnTo>
                  <a:pt x="319469" y="325088"/>
                </a:lnTo>
                <a:lnTo>
                  <a:pt x="271082" y="397097"/>
                </a:lnTo>
                <a:lnTo>
                  <a:pt x="271082" y="397097"/>
                </a:lnTo>
                <a:close/>
                <a:moveTo>
                  <a:pt x="157448" y="396240"/>
                </a:moveTo>
                <a:lnTo>
                  <a:pt x="52769" y="396240"/>
                </a:lnTo>
                <a:cubicBezTo>
                  <a:pt x="47244" y="396240"/>
                  <a:pt x="42767" y="391763"/>
                  <a:pt x="42767" y="386239"/>
                </a:cubicBezTo>
                <a:cubicBezTo>
                  <a:pt x="42767" y="380714"/>
                  <a:pt x="47244" y="376238"/>
                  <a:pt x="52769" y="376238"/>
                </a:cubicBezTo>
                <a:lnTo>
                  <a:pt x="157448" y="376238"/>
                </a:lnTo>
                <a:cubicBezTo>
                  <a:pt x="162973" y="376238"/>
                  <a:pt x="167450" y="380714"/>
                  <a:pt x="167450" y="386239"/>
                </a:cubicBezTo>
                <a:cubicBezTo>
                  <a:pt x="167450" y="391763"/>
                  <a:pt x="162973" y="396240"/>
                  <a:pt x="157448" y="396240"/>
                </a:cubicBezTo>
                <a:lnTo>
                  <a:pt x="157448" y="396240"/>
                </a:lnTo>
                <a:close/>
                <a:moveTo>
                  <a:pt x="39815" y="462153"/>
                </a:moveTo>
                <a:lnTo>
                  <a:pt x="316897" y="462153"/>
                </a:lnTo>
                <a:cubicBezTo>
                  <a:pt x="338804" y="462153"/>
                  <a:pt x="356807" y="444246"/>
                  <a:pt x="356807" y="422243"/>
                </a:cubicBezTo>
                <a:lnTo>
                  <a:pt x="356807" y="39910"/>
                </a:lnTo>
                <a:cubicBezTo>
                  <a:pt x="356807" y="18002"/>
                  <a:pt x="338900" y="0"/>
                  <a:pt x="316897" y="0"/>
                </a:cubicBezTo>
                <a:lnTo>
                  <a:pt x="39910" y="0"/>
                </a:lnTo>
                <a:cubicBezTo>
                  <a:pt x="17907" y="0"/>
                  <a:pt x="0" y="17907"/>
                  <a:pt x="0" y="39910"/>
                </a:cubicBezTo>
                <a:lnTo>
                  <a:pt x="0" y="422339"/>
                </a:lnTo>
                <a:cubicBezTo>
                  <a:pt x="0" y="444246"/>
                  <a:pt x="17907" y="462248"/>
                  <a:pt x="39910" y="462248"/>
                </a:cubicBezTo>
                <a:lnTo>
                  <a:pt x="39910" y="462248"/>
                </a:lnTo>
                <a:close/>
              </a:path>
            </a:pathLst>
          </a:custGeom>
          <a:gradFill>
            <a:gsLst>
              <a:gs pos="0">
                <a:srgbClr val="C03BC4"/>
              </a:gs>
              <a:gs pos="66000">
                <a:srgbClr val="2A446F"/>
              </a:gs>
            </a:gsLst>
            <a:path path="circle">
              <a:fillToRect l="100000" t="100000"/>
            </a:path>
          </a:gradFill>
          <a:ln w="952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itle 27">
            <a:extLst>
              <a:ext uri="{FF2B5EF4-FFF2-40B4-BE49-F238E27FC236}">
                <a16:creationId xmlns:a16="http://schemas.microsoft.com/office/drawing/2014/main" id="{88A107BD-8313-05E6-E4C0-4D9E531E5D91}"/>
              </a:ext>
            </a:extLst>
          </p:cNvPr>
          <p:cNvSpPr>
            <a:spLocks noGrp="1"/>
          </p:cNvSpPr>
          <p:nvPr>
            <p:ph type="title"/>
          </p:nvPr>
        </p:nvSpPr>
        <p:spPr/>
        <p:txBody>
          <a:bodyPr>
            <a:normAutofit fontScale="90000"/>
          </a:bodyPr>
          <a:lstStyle/>
          <a:p>
            <a:r>
              <a:rPr lang="en-US"/>
              <a:t>Key generative AI use cases across the Financial Services Industry</a:t>
            </a:r>
          </a:p>
        </p:txBody>
      </p:sp>
      <p:sp>
        <p:nvSpPr>
          <p:cNvPr id="31" name="Title 1">
            <a:extLst>
              <a:ext uri="{FF2B5EF4-FFF2-40B4-BE49-F238E27FC236}">
                <a16:creationId xmlns:a16="http://schemas.microsoft.com/office/drawing/2014/main" id="{4ABAAC5D-3D15-C2F1-6CCC-244C528DD792}"/>
              </a:ext>
            </a:extLst>
          </p:cNvPr>
          <p:cNvSpPr txBox="1">
            <a:spLocks/>
          </p:cNvSpPr>
          <p:nvPr/>
        </p:nvSpPr>
        <p:spPr>
          <a:xfrm>
            <a:off x="525840" y="2237155"/>
            <a:ext cx="1898650" cy="372410"/>
          </a:xfrm>
          <a:prstGeom prst="rect">
            <a:avLst/>
          </a:prstGeom>
        </p:spPr>
        <p:txBody>
          <a:bodyPr vert="horz" wrap="square" lIns="0" tIns="64008"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Banking</a:t>
            </a:r>
          </a:p>
        </p:txBody>
      </p:sp>
      <p:sp>
        <p:nvSpPr>
          <p:cNvPr id="39" name="Rectangle 38">
            <a:extLst>
              <a:ext uri="{FF2B5EF4-FFF2-40B4-BE49-F238E27FC236}">
                <a16:creationId xmlns:a16="http://schemas.microsoft.com/office/drawing/2014/main" id="{B5C7BB19-410E-882C-79A6-CA343BB898C2}"/>
              </a:ext>
            </a:extLst>
          </p:cNvPr>
          <p:cNvSpPr/>
          <p:nvPr/>
        </p:nvSpPr>
        <p:spPr bwMode="auto">
          <a:xfrm>
            <a:off x="2642852" y="2205330"/>
            <a:ext cx="1464346"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Customer Engagement Summarization</a:t>
            </a:r>
          </a:p>
        </p:txBody>
      </p:sp>
      <p:sp>
        <p:nvSpPr>
          <p:cNvPr id="44" name="Rectangle 43">
            <a:extLst>
              <a:ext uri="{FF2B5EF4-FFF2-40B4-BE49-F238E27FC236}">
                <a16:creationId xmlns:a16="http://schemas.microsoft.com/office/drawing/2014/main" id="{B4E26BD7-BFB4-FB4B-7D9E-2AC346DF6E60}"/>
              </a:ext>
            </a:extLst>
          </p:cNvPr>
          <p:cNvSpPr/>
          <p:nvPr/>
        </p:nvSpPr>
        <p:spPr bwMode="auto">
          <a:xfrm>
            <a:off x="4325967" y="2198621"/>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dvisors </a:t>
            </a:r>
          </a:p>
        </p:txBody>
      </p:sp>
      <p:sp>
        <p:nvSpPr>
          <p:cNvPr id="64" name="Rectangle 63">
            <a:extLst>
              <a:ext uri="{FF2B5EF4-FFF2-40B4-BE49-F238E27FC236}">
                <a16:creationId xmlns:a16="http://schemas.microsoft.com/office/drawing/2014/main" id="{6264AD44-75C4-7496-4072-9F4F30316B8E}"/>
              </a:ext>
            </a:extLst>
          </p:cNvPr>
          <p:cNvSpPr/>
          <p:nvPr/>
        </p:nvSpPr>
        <p:spPr bwMode="auto">
          <a:xfrm>
            <a:off x="5907766" y="2178636"/>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24" name="Title 1">
            <a:extLst>
              <a:ext uri="{FF2B5EF4-FFF2-40B4-BE49-F238E27FC236}">
                <a16:creationId xmlns:a16="http://schemas.microsoft.com/office/drawing/2014/main" id="{E92ED75C-ECA6-37EC-D37C-39031412B05B}"/>
              </a:ext>
            </a:extLst>
          </p:cNvPr>
          <p:cNvSpPr txBox="1">
            <a:spLocks/>
          </p:cNvSpPr>
          <p:nvPr/>
        </p:nvSpPr>
        <p:spPr>
          <a:xfrm>
            <a:off x="525840" y="4019843"/>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Capital Markets</a:t>
            </a:r>
          </a:p>
        </p:txBody>
      </p:sp>
      <p:sp>
        <p:nvSpPr>
          <p:cNvPr id="112" name="Rectangle 111">
            <a:extLst>
              <a:ext uri="{FF2B5EF4-FFF2-40B4-BE49-F238E27FC236}">
                <a16:creationId xmlns:a16="http://schemas.microsoft.com/office/drawing/2014/main" id="{3FDF331D-E5C8-CDAC-3DE7-82342FCD1332}"/>
              </a:ext>
            </a:extLst>
          </p:cNvPr>
          <p:cNvSpPr/>
          <p:nvPr/>
        </p:nvSpPr>
        <p:spPr bwMode="auto">
          <a:xfrm flipH="1">
            <a:off x="2674882" y="3881668"/>
            <a:ext cx="140028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Market research</a:t>
            </a:r>
          </a:p>
        </p:txBody>
      </p:sp>
      <p:sp>
        <p:nvSpPr>
          <p:cNvPr id="122" name="Rectangle 121">
            <a:extLst>
              <a:ext uri="{FF2B5EF4-FFF2-40B4-BE49-F238E27FC236}">
                <a16:creationId xmlns:a16="http://schemas.microsoft.com/office/drawing/2014/main" id="{9819B1AE-292B-DCE9-A4C0-0B67D248D3D4}"/>
              </a:ext>
            </a:extLst>
          </p:cNvPr>
          <p:cNvSpPr/>
          <p:nvPr/>
        </p:nvSpPr>
        <p:spPr bwMode="auto">
          <a:xfrm flipH="1">
            <a:off x="4327541" y="3932467"/>
            <a:ext cx="122717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15" name="Rectangle 114">
            <a:extLst>
              <a:ext uri="{FF2B5EF4-FFF2-40B4-BE49-F238E27FC236}">
                <a16:creationId xmlns:a16="http://schemas.microsoft.com/office/drawing/2014/main" id="{D8CA0E13-E3B1-749E-C0D1-BCC69AF245B3}"/>
              </a:ext>
            </a:extLst>
          </p:cNvPr>
          <p:cNvSpPr/>
          <p:nvPr/>
        </p:nvSpPr>
        <p:spPr bwMode="auto">
          <a:xfrm flipH="1">
            <a:off x="5909341" y="3932467"/>
            <a:ext cx="1227175" cy="410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Pitchbook generation</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 </a:t>
            </a:r>
          </a:p>
        </p:txBody>
      </p:sp>
      <p:sp>
        <p:nvSpPr>
          <p:cNvPr id="126" name="Title 1">
            <a:extLst>
              <a:ext uri="{FF2B5EF4-FFF2-40B4-BE49-F238E27FC236}">
                <a16:creationId xmlns:a16="http://schemas.microsoft.com/office/drawing/2014/main" id="{E55F42F6-848B-6438-D82F-175D00D78D61}"/>
              </a:ext>
            </a:extLst>
          </p:cNvPr>
          <p:cNvSpPr txBox="1">
            <a:spLocks/>
          </p:cNvSpPr>
          <p:nvPr/>
        </p:nvSpPr>
        <p:spPr>
          <a:xfrm>
            <a:off x="525840" y="5699586"/>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Insurance</a:t>
            </a:r>
          </a:p>
        </p:txBody>
      </p:sp>
      <p:sp>
        <p:nvSpPr>
          <p:cNvPr id="94" name="Rectangle 93">
            <a:extLst>
              <a:ext uri="{FF2B5EF4-FFF2-40B4-BE49-F238E27FC236}">
                <a16:creationId xmlns:a16="http://schemas.microsoft.com/office/drawing/2014/main" id="{8DE10BB3-7D0D-BE2F-9730-ED6266375B51}"/>
              </a:ext>
            </a:extLst>
          </p:cNvPr>
          <p:cNvSpPr/>
          <p:nvPr/>
        </p:nvSpPr>
        <p:spPr bwMode="auto">
          <a:xfrm flipH="1">
            <a:off x="2681671" y="5574074"/>
            <a:ext cx="1543014"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sym typeface="Helvetica Light"/>
              </a:rPr>
              <a:t>Claims processing augmentation</a:t>
            </a:r>
            <a:endParaRPr kumimoji="0" lang="en-US" sz="1200" b="0" i="0" u="none" strike="noStrike" kern="1200" cap="none" spc="0" normalizeH="0" baseline="0" noProof="0" err="1">
              <a:ln>
                <a:noFill/>
              </a:ln>
              <a:solidFill>
                <a:srgbClr val="000000"/>
              </a:solidFill>
              <a:effectLst/>
              <a:uLnTx/>
              <a:uFillTx/>
              <a:latin typeface="Segoe UI"/>
              <a:ea typeface="+mn-ea"/>
              <a:cs typeface="Segoe UI" pitchFamily="34" charset="0"/>
              <a:sym typeface="Helvetica Light"/>
            </a:endParaRPr>
          </a:p>
        </p:txBody>
      </p:sp>
      <p:sp>
        <p:nvSpPr>
          <p:cNvPr id="104" name="Rectangle 103">
            <a:extLst>
              <a:ext uri="{FF2B5EF4-FFF2-40B4-BE49-F238E27FC236}">
                <a16:creationId xmlns:a16="http://schemas.microsoft.com/office/drawing/2014/main" id="{1BBD67E3-9723-6B63-ED15-EBD8A4067818}"/>
              </a:ext>
            </a:extLst>
          </p:cNvPr>
          <p:cNvSpPr/>
          <p:nvPr/>
        </p:nvSpPr>
        <p:spPr bwMode="auto">
          <a:xfrm flipH="1">
            <a:off x="4267315" y="5574074"/>
            <a:ext cx="134762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gents </a:t>
            </a:r>
          </a:p>
        </p:txBody>
      </p:sp>
      <p:sp>
        <p:nvSpPr>
          <p:cNvPr id="109" name="Rectangle 108">
            <a:extLst>
              <a:ext uri="{FF2B5EF4-FFF2-40B4-BE49-F238E27FC236}">
                <a16:creationId xmlns:a16="http://schemas.microsoft.com/office/drawing/2014/main" id="{18D249F2-04FB-520C-DDED-552BAD281006}"/>
              </a:ext>
            </a:extLst>
          </p:cNvPr>
          <p:cNvSpPr/>
          <p:nvPr/>
        </p:nvSpPr>
        <p:spPr bwMode="auto">
          <a:xfrm flipH="1">
            <a:off x="5849114" y="5574074"/>
            <a:ext cx="134762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Underwriting Copilot</a:t>
            </a:r>
          </a:p>
        </p:txBody>
      </p:sp>
      <p:sp>
        <p:nvSpPr>
          <p:cNvPr id="144" name="TextBox 143">
            <a:extLst>
              <a:ext uri="{FF2B5EF4-FFF2-40B4-BE49-F238E27FC236}">
                <a16:creationId xmlns:a16="http://schemas.microsoft.com/office/drawing/2014/main" id="{5CF96F22-2747-99EF-6E70-B416C88349E2}"/>
              </a:ext>
              <a:ext uri="{C183D7F6-B498-43B3-948B-1728B52AA6E4}">
                <adec:decorative xmlns:adec="http://schemas.microsoft.com/office/drawing/2017/decorative" val="0"/>
              </a:ext>
            </a:extLst>
          </p:cNvPr>
          <p:cNvSpPr txBox="1"/>
          <p:nvPr/>
        </p:nvSpPr>
        <p:spPr>
          <a:xfrm>
            <a:off x="8464778" y="835853"/>
            <a:ext cx="3155722" cy="369332"/>
          </a:xfrm>
          <a:prstGeom prst="rect">
            <a:avLst/>
          </a:prstGeom>
          <a:noFill/>
        </p:spPr>
        <p:txBody>
          <a:bodyPr wrap="square">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ommon Scenarios</a:t>
            </a:r>
          </a:p>
        </p:txBody>
      </p:sp>
      <p:sp>
        <p:nvSpPr>
          <p:cNvPr id="139" name="Rectangle 138">
            <a:extLst>
              <a:ext uri="{FF2B5EF4-FFF2-40B4-BE49-F238E27FC236}">
                <a16:creationId xmlns:a16="http://schemas.microsoft.com/office/drawing/2014/main" id="{E3401AD6-6398-C302-3F1D-49213DE17514}"/>
              </a:ext>
            </a:extLst>
          </p:cNvPr>
          <p:cNvSpPr/>
          <p:nvPr/>
        </p:nvSpPr>
        <p:spPr bwMode="auto">
          <a:xfrm flipH="1">
            <a:off x="8771060" y="2164433"/>
            <a:ext cx="1347629" cy="8181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lient Engagement</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Internal Copilot agents</a:t>
            </a:r>
          </a:p>
        </p:txBody>
      </p:sp>
      <p:sp>
        <p:nvSpPr>
          <p:cNvPr id="140" name="Rectangle 139">
            <a:extLst>
              <a:ext uri="{FF2B5EF4-FFF2-40B4-BE49-F238E27FC236}">
                <a16:creationId xmlns:a16="http://schemas.microsoft.com/office/drawing/2014/main" id="{3BD08855-6DFC-894D-A799-D93F33CD1802}"/>
              </a:ext>
            </a:extLst>
          </p:cNvPr>
          <p:cNvSpPr/>
          <p:nvPr/>
        </p:nvSpPr>
        <p:spPr bwMode="auto">
          <a:xfrm flipH="1">
            <a:off x="10105195" y="2174023"/>
            <a:ext cx="1347629" cy="64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Knowledge Search</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Support</a:t>
            </a:r>
          </a:p>
        </p:txBody>
      </p:sp>
      <p:sp>
        <p:nvSpPr>
          <p:cNvPr id="134" name="Rectangle 133">
            <a:extLst>
              <a:ext uri="{FF2B5EF4-FFF2-40B4-BE49-F238E27FC236}">
                <a16:creationId xmlns:a16="http://schemas.microsoft.com/office/drawing/2014/main" id="{B9B511A0-8D77-9176-5BD9-A7B699B1A702}"/>
              </a:ext>
            </a:extLst>
          </p:cNvPr>
          <p:cNvSpPr/>
          <p:nvPr/>
        </p:nvSpPr>
        <p:spPr bwMode="auto">
          <a:xfrm>
            <a:off x="8771097" y="3948975"/>
            <a:ext cx="133778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a:rPr>
              <a:t>Code Modernization</a:t>
            </a:r>
            <a:endPar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43" name="Rectangle 142">
            <a:extLst>
              <a:ext uri="{FF2B5EF4-FFF2-40B4-BE49-F238E27FC236}">
                <a16:creationId xmlns:a16="http://schemas.microsoft.com/office/drawing/2014/main" id="{1FEE7642-0A2F-DC4E-12A1-61AD98708E05}"/>
              </a:ext>
            </a:extLst>
          </p:cNvPr>
          <p:cNvSpPr/>
          <p:nvPr/>
        </p:nvSpPr>
        <p:spPr bwMode="auto">
          <a:xfrm flipH="1">
            <a:off x="10105195" y="3968513"/>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NLP document analysis </a:t>
            </a:r>
          </a:p>
        </p:txBody>
      </p:sp>
      <p:sp>
        <p:nvSpPr>
          <p:cNvPr id="67" name="Rectangle 66">
            <a:extLst>
              <a:ext uri="{FF2B5EF4-FFF2-40B4-BE49-F238E27FC236}">
                <a16:creationId xmlns:a16="http://schemas.microsoft.com/office/drawing/2014/main" id="{A3744B2A-CC16-3A7A-D585-954F964B3210}"/>
              </a:ext>
            </a:extLst>
          </p:cNvPr>
          <p:cNvSpPr/>
          <p:nvPr/>
        </p:nvSpPr>
        <p:spPr bwMode="auto">
          <a:xfrm>
            <a:off x="8867180" y="5368818"/>
            <a:ext cx="1230325"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Accessibility and language translation</a:t>
            </a:r>
          </a:p>
        </p:txBody>
      </p:sp>
      <p:sp>
        <p:nvSpPr>
          <p:cNvPr id="98" name="Rectangle 97">
            <a:extLst>
              <a:ext uri="{FF2B5EF4-FFF2-40B4-BE49-F238E27FC236}">
                <a16:creationId xmlns:a16="http://schemas.microsoft.com/office/drawing/2014/main" id="{C14CB6DE-0D6E-E9C2-646C-23AFEF42949D}"/>
              </a:ext>
            </a:extLst>
          </p:cNvPr>
          <p:cNvSpPr/>
          <p:nvPr/>
        </p:nvSpPr>
        <p:spPr bwMode="auto">
          <a:xfrm flipH="1">
            <a:off x="10105195" y="5368818"/>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Fraud detection </a:t>
            </a:r>
          </a:p>
        </p:txBody>
      </p:sp>
    </p:spTree>
    <p:extLst>
      <p:ext uri="{BB962C8B-B14F-4D97-AF65-F5344CB8AC3E}">
        <p14:creationId xmlns:p14="http://schemas.microsoft.com/office/powerpoint/2010/main" val="94743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0"/>
                                  </p:stCondLst>
                                  <p:childTnLst>
                                    <p:animMotion origin="layout" path="M -3.54167E-6 -7.40741E-7 L -3.54167E-6 0.01806 " pathEditMode="relative" rAng="0" ptsTypes="AA">
                                      <p:cBhvr>
                                        <p:cTn id="9" dur="500" spd="-100000" fill="hold"/>
                                        <p:tgtEl>
                                          <p:spTgt spid="31"/>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42" presetClass="path" presetSubtype="0" decel="100000" fill="hold" grpId="1" nodeType="withEffect">
                                  <p:stCondLst>
                                    <p:cond delay="0"/>
                                  </p:stCondLst>
                                  <p:childTnLst>
                                    <p:animMotion origin="layout" path="M -3.54167E-6 -4.81481E-6 L -3.54167E-6 0.01806 " pathEditMode="relative" rAng="0" ptsTypes="AA">
                                      <p:cBhvr>
                                        <p:cTn id="14" dur="500" spd="-100000" fill="hold"/>
                                        <p:tgtEl>
                                          <p:spTgt spid="124"/>
                                        </p:tgtEl>
                                        <p:attrNameLst>
                                          <p:attrName>ppt_x</p:attrName>
                                          <p:attrName>ppt_y</p:attrName>
                                        </p:attrNameLst>
                                      </p:cBhvr>
                                      <p:rCtr x="0" y="903"/>
                                    </p:animMotion>
                                  </p:childTnLst>
                                </p:cTn>
                              </p:par>
                              <p:par>
                                <p:cTn id="15" presetID="10" presetClass="entr" presetSubtype="0" fill="hold" grpId="0" nodeType="withEffect">
                                  <p:stCondLst>
                                    <p:cond delay="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grpId="1" nodeType="withEffect">
                                  <p:stCondLst>
                                    <p:cond delay="0"/>
                                  </p:stCondLst>
                                  <p:childTnLst>
                                    <p:animMotion origin="layout" path="M -3.54167E-6 -2.22222E-6 L -3.54167E-6 0.01806 " pathEditMode="relative" rAng="0" ptsTypes="AA">
                                      <p:cBhvr>
                                        <p:cTn id="19" dur="500" spd="-100000" fill="hold"/>
                                        <p:tgtEl>
                                          <p:spTgt spid="126"/>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500"/>
                                        <p:tgtEl>
                                          <p:spTgt spid="1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path" presetSubtype="0" decel="100000" fill="hold" grpId="1" nodeType="withEffect">
                                  <p:stCondLst>
                                    <p:cond delay="0"/>
                                  </p:stCondLst>
                                  <p:childTnLst>
                                    <p:animMotion origin="layout" path="M 2.91667E-6 1.48148E-6 L 2.91667E-6 0.02616 " pathEditMode="relative" rAng="0" ptsTypes="AA">
                                      <p:cBhvr>
                                        <p:cTn id="27" dur="500" spd="-100000" fill="hold"/>
                                        <p:tgtEl>
                                          <p:spTgt spid="2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1" grpId="0"/>
      <p:bldP spid="31" grpId="1"/>
      <p:bldP spid="124" grpId="0"/>
      <p:bldP spid="124" grpId="1"/>
      <p:bldP spid="126" grpId="0"/>
      <p:bldP spid="126"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F0B0D-A01C-9B5A-13B7-71FD69612826}"/>
              </a:ext>
            </a:extLst>
          </p:cNvPr>
          <p:cNvSpPr>
            <a:spLocks noGrp="1"/>
          </p:cNvSpPr>
          <p:nvPr>
            <p:ph type="title"/>
          </p:nvPr>
        </p:nvSpPr>
        <p:spPr>
          <a:xfrm>
            <a:off x="838200" y="222250"/>
            <a:ext cx="10515600" cy="777875"/>
          </a:xfrm>
        </p:spPr>
        <p:txBody>
          <a:bodyPr/>
          <a:lstStyle/>
          <a:p>
            <a:r>
              <a:rPr lang="en-IE" dirty="0"/>
              <a:t>Partner’s Solution Accelerators</a:t>
            </a:r>
          </a:p>
        </p:txBody>
      </p:sp>
      <p:sp>
        <p:nvSpPr>
          <p:cNvPr id="3" name="Content Placeholder 2">
            <a:extLst>
              <a:ext uri="{FF2B5EF4-FFF2-40B4-BE49-F238E27FC236}">
                <a16:creationId xmlns:a16="http://schemas.microsoft.com/office/drawing/2014/main" id="{C5C5CF09-35E1-3025-A126-D6A838C68B15}"/>
              </a:ext>
            </a:extLst>
          </p:cNvPr>
          <p:cNvSpPr>
            <a:spLocks noGrp="1"/>
          </p:cNvSpPr>
          <p:nvPr>
            <p:ph idx="1"/>
          </p:nvPr>
        </p:nvSpPr>
        <p:spPr>
          <a:xfrm>
            <a:off x="838200" y="1185863"/>
            <a:ext cx="10515600" cy="5136355"/>
          </a:xfrm>
        </p:spPr>
        <p:txBody>
          <a:bodyPr>
            <a:normAutofit fontScale="92500" lnSpcReduction="10000"/>
          </a:bodyPr>
          <a:lstStyle/>
          <a:p>
            <a:r>
              <a:rPr lang="en-IE" b="1" dirty="0"/>
              <a:t>OpenAI acceleration</a:t>
            </a:r>
            <a:r>
              <a:rPr lang="en-IE" dirty="0"/>
              <a:t>: Creating, managing, fine tuning, vector databases, accelerators and architectural guidance</a:t>
            </a:r>
          </a:p>
          <a:p>
            <a:r>
              <a:rPr lang="en-IE" b="1" dirty="0"/>
              <a:t>Responsible AI adoption </a:t>
            </a:r>
            <a:r>
              <a:rPr lang="en-IE" dirty="0"/>
              <a:t>accelerator</a:t>
            </a:r>
          </a:p>
          <a:p>
            <a:r>
              <a:rPr lang="en-IE" b="1" dirty="0"/>
              <a:t>Regulatory compliance </a:t>
            </a:r>
            <a:r>
              <a:rPr lang="en-IE" dirty="0"/>
              <a:t>accelerator</a:t>
            </a:r>
          </a:p>
          <a:p>
            <a:r>
              <a:rPr lang="en-IE" b="1" dirty="0"/>
              <a:t>Knowledge mining chatbot:</a:t>
            </a:r>
            <a:r>
              <a:rPr lang="en-IE" dirty="0"/>
              <a:t> Chat with your data, integration with on-prem Data (office, </a:t>
            </a:r>
            <a:r>
              <a:rPr lang="en-IE" dirty="0" err="1"/>
              <a:t>Sharepoint</a:t>
            </a:r>
            <a:r>
              <a:rPr lang="en-IE" dirty="0"/>
              <a:t>, custom sources)</a:t>
            </a:r>
          </a:p>
          <a:p>
            <a:r>
              <a:rPr lang="en-IE" b="1" dirty="0"/>
              <a:t>Vision AI</a:t>
            </a:r>
            <a:r>
              <a:rPr lang="en-IE" dirty="0"/>
              <a:t>: anomaly detection, security monitoring, event identification</a:t>
            </a:r>
          </a:p>
          <a:p>
            <a:r>
              <a:rPr lang="en-IE" b="1" dirty="0"/>
              <a:t>Data Entry Assistant</a:t>
            </a:r>
            <a:r>
              <a:rPr lang="en-IE" dirty="0"/>
              <a:t>: Azure Forms recogniser, Speech to Text data entry, information retrieval and enrichment</a:t>
            </a:r>
          </a:p>
          <a:p>
            <a:r>
              <a:rPr lang="en-IE" b="1" dirty="0"/>
              <a:t>Legal contract management</a:t>
            </a:r>
            <a:r>
              <a:rPr lang="en-IE" dirty="0"/>
              <a:t>: understanding of contracts, clause validation, summary extraction, etc</a:t>
            </a:r>
          </a:p>
          <a:p>
            <a:r>
              <a:rPr lang="en-IE" b="1" dirty="0"/>
              <a:t>Call </a:t>
            </a:r>
            <a:r>
              <a:rPr lang="en-IE" b="1" dirty="0" err="1"/>
              <a:t>Center</a:t>
            </a:r>
            <a:r>
              <a:rPr lang="en-IE" b="1" dirty="0"/>
              <a:t> solution: </a:t>
            </a:r>
            <a:r>
              <a:rPr lang="en-IE" dirty="0"/>
              <a:t>text extraction, sentiment analysis, summarisation, reporting</a:t>
            </a:r>
            <a:endParaRPr lang="en-IE" b="1" dirty="0"/>
          </a:p>
          <a:p>
            <a:endParaRPr lang="en-IE" dirty="0"/>
          </a:p>
          <a:p>
            <a:endParaRPr lang="en-IE" dirty="0"/>
          </a:p>
        </p:txBody>
      </p:sp>
    </p:spTree>
    <p:extLst>
      <p:ext uri="{BB962C8B-B14F-4D97-AF65-F5344CB8AC3E}">
        <p14:creationId xmlns:p14="http://schemas.microsoft.com/office/powerpoint/2010/main" val="4203405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Box 229">
            <a:extLst>
              <a:ext uri="{FF2B5EF4-FFF2-40B4-BE49-F238E27FC236}">
                <a16:creationId xmlns:a16="http://schemas.microsoft.com/office/drawing/2014/main" id="{9FD5F569-5125-603E-18F9-C7A3B5D5A706}"/>
              </a:ext>
            </a:extLst>
          </p:cNvPr>
          <p:cNvSpPr txBox="1"/>
          <p:nvPr/>
        </p:nvSpPr>
        <p:spPr>
          <a:xfrm>
            <a:off x="588262" y="5762942"/>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ML Platform</a:t>
            </a:r>
          </a:p>
        </p:txBody>
      </p:sp>
      <p:sp>
        <p:nvSpPr>
          <p:cNvPr id="229" name="TextBox 228">
            <a:extLst>
              <a:ext uri="{FF2B5EF4-FFF2-40B4-BE49-F238E27FC236}">
                <a16:creationId xmlns:a16="http://schemas.microsoft.com/office/drawing/2014/main" id="{DE836F1B-1A6E-067D-0F03-B10511EB022C}"/>
              </a:ext>
            </a:extLst>
          </p:cNvPr>
          <p:cNvSpPr txBox="1"/>
          <p:nvPr/>
        </p:nvSpPr>
        <p:spPr>
          <a:xfrm>
            <a:off x="588262" y="4566401"/>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Customizable AI Models</a:t>
            </a:r>
          </a:p>
        </p:txBody>
      </p:sp>
      <p:sp>
        <p:nvSpPr>
          <p:cNvPr id="231" name="TextBox 230">
            <a:extLst>
              <a:ext uri="{FF2B5EF4-FFF2-40B4-BE49-F238E27FC236}">
                <a16:creationId xmlns:a16="http://schemas.microsoft.com/office/drawing/2014/main" id="{3745BBE3-4F48-ADD8-3736-5F05C8359CC3}"/>
              </a:ext>
            </a:extLst>
          </p:cNvPr>
          <p:cNvSpPr txBox="1"/>
          <p:nvPr/>
        </p:nvSpPr>
        <p:spPr>
          <a:xfrm>
            <a:off x="595094" y="4820741"/>
            <a:ext cx="1369246"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4" name="TextBox 303">
            <a:extLst>
              <a:ext uri="{FF2B5EF4-FFF2-40B4-BE49-F238E27FC236}">
                <a16:creationId xmlns:a16="http://schemas.microsoft.com/office/drawing/2014/main" id="{2A988C05-FDDD-9ABB-178D-F3814AEACF33}"/>
              </a:ext>
            </a:extLst>
          </p:cNvPr>
          <p:cNvSpPr txBox="1"/>
          <p:nvPr/>
        </p:nvSpPr>
        <p:spPr>
          <a:xfrm>
            <a:off x="588262" y="3459067"/>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Based Services</a:t>
            </a:r>
          </a:p>
        </p:txBody>
      </p:sp>
      <p:sp>
        <p:nvSpPr>
          <p:cNvPr id="305" name="TextBox 304">
            <a:extLst>
              <a:ext uri="{FF2B5EF4-FFF2-40B4-BE49-F238E27FC236}">
                <a16:creationId xmlns:a16="http://schemas.microsoft.com/office/drawing/2014/main" id="{A701C4AB-F3F9-B835-183F-FE2F01630269}"/>
              </a:ext>
            </a:extLst>
          </p:cNvPr>
          <p:cNvSpPr txBox="1"/>
          <p:nvPr/>
        </p:nvSpPr>
        <p:spPr>
          <a:xfrm>
            <a:off x="588263" y="3725660"/>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9" name="TextBox 308">
            <a:extLst>
              <a:ext uri="{FF2B5EF4-FFF2-40B4-BE49-F238E27FC236}">
                <a16:creationId xmlns:a16="http://schemas.microsoft.com/office/drawing/2014/main" id="{41FE4C9A-531F-1C41-2AEE-B514AE2CB8E3}"/>
              </a:ext>
            </a:extLst>
          </p:cNvPr>
          <p:cNvSpPr txBox="1"/>
          <p:nvPr/>
        </p:nvSpPr>
        <p:spPr>
          <a:xfrm>
            <a:off x="588262" y="2358389"/>
            <a:ext cx="192024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 Platform</a:t>
            </a:r>
          </a:p>
        </p:txBody>
      </p:sp>
      <p:sp>
        <p:nvSpPr>
          <p:cNvPr id="311" name="TextBox 310">
            <a:extLst>
              <a:ext uri="{FF2B5EF4-FFF2-40B4-BE49-F238E27FC236}">
                <a16:creationId xmlns:a16="http://schemas.microsoft.com/office/drawing/2014/main" id="{4F4AF747-5D46-3A34-F1BC-AD27332D43F9}"/>
              </a:ext>
            </a:extLst>
          </p:cNvPr>
          <p:cNvSpPr txBox="1"/>
          <p:nvPr/>
        </p:nvSpPr>
        <p:spPr>
          <a:xfrm>
            <a:off x="588263" y="2624982"/>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E6FF"/>
                </a:solidFill>
                <a:effectLst/>
                <a:uLnTx/>
                <a:uFillTx/>
                <a:latin typeface="Segoe UI"/>
                <a:ea typeface="Arial" charset="0"/>
                <a:cs typeface="Segoe UI" panose="020B0502040204020203" pitchFamily="34" charset="0"/>
              </a:rPr>
              <a:t>AI Builder</a:t>
            </a:r>
          </a:p>
        </p:txBody>
      </p:sp>
      <p:sp>
        <p:nvSpPr>
          <p:cNvPr id="313" name="TextBox 312">
            <a:extLst>
              <a:ext uri="{FF2B5EF4-FFF2-40B4-BE49-F238E27FC236}">
                <a16:creationId xmlns:a16="http://schemas.microsoft.com/office/drawing/2014/main" id="{84FB7CDA-D099-B022-0B26-8FB287B80E1F}"/>
              </a:ext>
            </a:extLst>
          </p:cNvPr>
          <p:cNvSpPr txBox="1"/>
          <p:nvPr/>
        </p:nvSpPr>
        <p:spPr>
          <a:xfrm>
            <a:off x="588262" y="1365469"/>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s</a:t>
            </a:r>
          </a:p>
        </p:txBody>
      </p:sp>
      <p:sp>
        <p:nvSpPr>
          <p:cNvPr id="3" name="Title 2">
            <a:extLst>
              <a:ext uri="{FF2B5EF4-FFF2-40B4-BE49-F238E27FC236}">
                <a16:creationId xmlns:a16="http://schemas.microsoft.com/office/drawing/2014/main" id="{32B5AF0E-C9C0-C806-D02D-DC37D061CA9E}"/>
              </a:ext>
            </a:extLst>
          </p:cNvPr>
          <p:cNvSpPr>
            <a:spLocks noGrp="1"/>
          </p:cNvSpPr>
          <p:nvPr>
            <p:ph type="title"/>
          </p:nvPr>
        </p:nvSpPr>
        <p:spPr>
          <a:xfrm>
            <a:off x="588263" y="334017"/>
            <a:ext cx="11018520" cy="492443"/>
          </a:xfrm>
        </p:spPr>
        <p:txBody>
          <a:bodyPr/>
          <a:lstStyle/>
          <a:p>
            <a:pPr algn="ctr"/>
            <a:r>
              <a:rPr lang="en-US" sz="3200"/>
              <a:t>Azure AI</a:t>
            </a:r>
          </a:p>
        </p:txBody>
      </p:sp>
      <p:grpSp>
        <p:nvGrpSpPr>
          <p:cNvPr id="2" name="Group 1">
            <a:extLst>
              <a:ext uri="{FF2B5EF4-FFF2-40B4-BE49-F238E27FC236}">
                <a16:creationId xmlns:a16="http://schemas.microsoft.com/office/drawing/2014/main" id="{F6DDFE28-5932-B621-A01F-EFF1D05F270E}"/>
              </a:ext>
              <a:ext uri="{C183D7F6-B498-43B3-948B-1728B52AA6E4}">
                <adec:decorative xmlns:adec="http://schemas.microsoft.com/office/drawing/2017/decorative" val="1"/>
              </a:ext>
            </a:extLst>
          </p:cNvPr>
          <p:cNvGrpSpPr/>
          <p:nvPr/>
        </p:nvGrpSpPr>
        <p:grpSpPr>
          <a:xfrm>
            <a:off x="2886317" y="1011198"/>
            <a:ext cx="7599176" cy="2106518"/>
            <a:chOff x="2886317" y="1011198"/>
            <a:chExt cx="7599176" cy="2106518"/>
          </a:xfrm>
        </p:grpSpPr>
        <p:sp>
          <p:nvSpPr>
            <p:cNvPr id="142" name="Freeform 2">
              <a:extLst>
                <a:ext uri="{FF2B5EF4-FFF2-40B4-BE49-F238E27FC236}">
                  <a16:creationId xmlns:a16="http://schemas.microsoft.com/office/drawing/2014/main" id="{417617C9-11F1-FE74-948D-6BAE0F7E4E87}"/>
                </a:ext>
              </a:extLst>
            </p:cNvPr>
            <p:cNvSpPr>
              <a:spLocks noChangeArrowheads="1"/>
            </p:cNvSpPr>
            <p:nvPr/>
          </p:nvSpPr>
          <p:spPr bwMode="auto">
            <a:xfrm>
              <a:off x="2886317" y="1011198"/>
              <a:ext cx="7599176"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pic>
          <p:nvPicPr>
            <p:cNvPr id="143" name="Picture 142" descr="Graphical user interface&#10;&#10;Description automatically generated">
              <a:extLst>
                <a:ext uri="{FF2B5EF4-FFF2-40B4-BE49-F238E27FC236}">
                  <a16:creationId xmlns:a16="http://schemas.microsoft.com/office/drawing/2014/main" id="{EF2BFC67-5BB4-026A-BBC1-4FA180E5DA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735" y="1257017"/>
              <a:ext cx="1427000" cy="524478"/>
            </a:xfrm>
            <a:prstGeom prst="rect">
              <a:avLst/>
            </a:prstGeom>
          </p:spPr>
        </p:pic>
        <p:pic>
          <p:nvPicPr>
            <p:cNvPr id="144" name="Picture 143" descr="Graphical user interface, application&#10;&#10;Description automatically generated">
              <a:extLst>
                <a:ext uri="{FF2B5EF4-FFF2-40B4-BE49-F238E27FC236}">
                  <a16:creationId xmlns:a16="http://schemas.microsoft.com/office/drawing/2014/main" id="{146D3A7A-F106-C176-DF12-1AF4584FC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6711" y="1159592"/>
              <a:ext cx="1617184" cy="711278"/>
            </a:xfrm>
            <a:prstGeom prst="rect">
              <a:avLst/>
            </a:prstGeom>
          </p:spPr>
        </p:pic>
        <p:sp>
          <p:nvSpPr>
            <p:cNvPr id="145" name="TextBox 144">
              <a:extLst>
                <a:ext uri="{FF2B5EF4-FFF2-40B4-BE49-F238E27FC236}">
                  <a16:creationId xmlns:a16="http://schemas.microsoft.com/office/drawing/2014/main" id="{353C7C6C-8FCD-3F6B-1D30-7A0D5B943741}"/>
                </a:ext>
              </a:extLst>
            </p:cNvPr>
            <p:cNvSpPr txBox="1"/>
            <p:nvPr/>
          </p:nvSpPr>
          <p:spPr>
            <a:xfrm>
              <a:off x="8795366" y="1465260"/>
              <a:ext cx="1442610" cy="223331"/>
            </a:xfrm>
            <a:prstGeom prst="rect">
              <a:avLst/>
            </a:prstGeom>
            <a:noFill/>
          </p:spPr>
          <p:txBody>
            <a:bodyPr wrap="square">
              <a:spAutoFit/>
            </a:bodyPr>
            <a:lstStyle/>
            <a:p>
              <a:pPr marL="0" marR="0" lvl="0" indent="0" algn="ctr" defTabSz="755521" rtl="0" eaLnBrk="1" fontAlgn="auto" latinLnBrk="0" hangingPunct="1">
                <a:lnSpc>
                  <a:spcPts val="972"/>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artner Solutions</a:t>
              </a:r>
              <a:endParaRPr kumimoji="0" lang="en-US" sz="24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73" name="Freeform 2">
              <a:extLst>
                <a:ext uri="{FF2B5EF4-FFF2-40B4-BE49-F238E27FC236}">
                  <a16:creationId xmlns:a16="http://schemas.microsoft.com/office/drawing/2014/main" id="{D2A68E0E-0818-CC1E-041E-400139144411}"/>
                </a:ext>
              </a:extLst>
            </p:cNvPr>
            <p:cNvSpPr>
              <a:spLocks noChangeArrowheads="1"/>
            </p:cNvSpPr>
            <p:nvPr/>
          </p:nvSpPr>
          <p:spPr bwMode="auto">
            <a:xfrm>
              <a:off x="2886317" y="211187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grpSp>
          <p:nvGrpSpPr>
            <p:cNvPr id="25" name="Group 24">
              <a:extLst>
                <a:ext uri="{FF2B5EF4-FFF2-40B4-BE49-F238E27FC236}">
                  <a16:creationId xmlns:a16="http://schemas.microsoft.com/office/drawing/2014/main" id="{CEEA91A0-EB11-E7B5-3EB6-6D0E414C56FF}"/>
                </a:ext>
              </a:extLst>
            </p:cNvPr>
            <p:cNvGrpSpPr/>
            <p:nvPr/>
          </p:nvGrpSpPr>
          <p:grpSpPr>
            <a:xfrm>
              <a:off x="3091565" y="2290197"/>
              <a:ext cx="591509" cy="672282"/>
              <a:chOff x="4226377" y="2327930"/>
              <a:chExt cx="591509" cy="672282"/>
            </a:xfrm>
          </p:grpSpPr>
          <p:pic>
            <p:nvPicPr>
              <p:cNvPr id="177" name="Picture 176" descr="A close up of a device&#10;&#10;Description automatically generated">
                <a:extLst>
                  <a:ext uri="{FF2B5EF4-FFF2-40B4-BE49-F238E27FC236}">
                    <a16:creationId xmlns:a16="http://schemas.microsoft.com/office/drawing/2014/main" id="{B4181378-8B07-8179-13C2-E0E82E79B6FE}"/>
                  </a:ext>
                </a:extLst>
              </p:cNvPr>
              <p:cNvPicPr>
                <a:picLocks noChangeAspect="1"/>
              </p:cNvPicPr>
              <p:nvPr/>
            </p:nvPicPr>
            <p:blipFill>
              <a:blip r:embed="rId5"/>
              <a:stretch>
                <a:fillRect/>
              </a:stretch>
            </p:blipFill>
            <p:spPr>
              <a:xfrm>
                <a:off x="4339251" y="2327930"/>
                <a:ext cx="365760" cy="365760"/>
              </a:xfrm>
              <a:prstGeom prst="rect">
                <a:avLst/>
              </a:prstGeom>
            </p:spPr>
          </p:pic>
          <p:sp>
            <p:nvSpPr>
              <p:cNvPr id="178" name="TextBox 177">
                <a:extLst>
                  <a:ext uri="{FF2B5EF4-FFF2-40B4-BE49-F238E27FC236}">
                    <a16:creationId xmlns:a16="http://schemas.microsoft.com/office/drawing/2014/main" id="{C8CCBAFE-528A-43F0-4DBE-A96FD04D555B}"/>
                  </a:ext>
                </a:extLst>
              </p:cNvPr>
              <p:cNvSpPr txBox="1"/>
              <p:nvPr/>
            </p:nvSpPr>
            <p:spPr>
              <a:xfrm>
                <a:off x="4226377" y="2815546"/>
                <a:ext cx="591509"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p>
            </p:txBody>
          </p:sp>
        </p:grpSp>
        <p:grpSp>
          <p:nvGrpSpPr>
            <p:cNvPr id="27" name="Group 26">
              <a:extLst>
                <a:ext uri="{FF2B5EF4-FFF2-40B4-BE49-F238E27FC236}">
                  <a16:creationId xmlns:a16="http://schemas.microsoft.com/office/drawing/2014/main" id="{E0E267A5-58B8-8432-B987-01A16729C3D7}"/>
                </a:ext>
              </a:extLst>
            </p:cNvPr>
            <p:cNvGrpSpPr/>
            <p:nvPr/>
          </p:nvGrpSpPr>
          <p:grpSpPr>
            <a:xfrm>
              <a:off x="4813265" y="2291353"/>
              <a:ext cx="806311" cy="669969"/>
              <a:chOff x="6348539" y="2305595"/>
              <a:chExt cx="806311" cy="669969"/>
            </a:xfrm>
          </p:grpSpPr>
          <p:pic>
            <p:nvPicPr>
              <p:cNvPr id="176" name="Picture 175" descr="A close up of a logo&#10;&#10;Description automatically generated">
                <a:extLst>
                  <a:ext uri="{FF2B5EF4-FFF2-40B4-BE49-F238E27FC236}">
                    <a16:creationId xmlns:a16="http://schemas.microsoft.com/office/drawing/2014/main" id="{BB89438E-0A79-2D78-91C8-685065F3D004}"/>
                  </a:ext>
                </a:extLst>
              </p:cNvPr>
              <p:cNvPicPr>
                <a:picLocks noChangeAspect="1"/>
              </p:cNvPicPr>
              <p:nvPr/>
            </p:nvPicPr>
            <p:blipFill>
              <a:blip r:embed="rId6"/>
              <a:stretch>
                <a:fillRect/>
              </a:stretch>
            </p:blipFill>
            <p:spPr>
              <a:xfrm>
                <a:off x="6568814" y="2305595"/>
                <a:ext cx="365760" cy="365760"/>
              </a:xfrm>
              <a:prstGeom prst="rect">
                <a:avLst/>
              </a:prstGeom>
            </p:spPr>
          </p:pic>
          <p:sp>
            <p:nvSpPr>
              <p:cNvPr id="179" name="TextBox 178">
                <a:extLst>
                  <a:ext uri="{FF2B5EF4-FFF2-40B4-BE49-F238E27FC236}">
                    <a16:creationId xmlns:a16="http://schemas.microsoft.com/office/drawing/2014/main" id="{782EF79B-3F06-354C-1409-208D930F60D9}"/>
                  </a:ext>
                </a:extLst>
              </p:cNvPr>
              <p:cNvSpPr txBox="1"/>
              <p:nvPr/>
            </p:nvSpPr>
            <p:spPr>
              <a:xfrm>
                <a:off x="6348539" y="2790898"/>
                <a:ext cx="80631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pps</a:t>
                </a:r>
              </a:p>
            </p:txBody>
          </p:sp>
        </p:grpSp>
        <p:grpSp>
          <p:nvGrpSpPr>
            <p:cNvPr id="28" name="Group 27">
              <a:extLst>
                <a:ext uri="{FF2B5EF4-FFF2-40B4-BE49-F238E27FC236}">
                  <a16:creationId xmlns:a16="http://schemas.microsoft.com/office/drawing/2014/main" id="{641BF886-9518-774C-5F60-A942D1A7D9AE}"/>
                </a:ext>
              </a:extLst>
            </p:cNvPr>
            <p:cNvGrpSpPr/>
            <p:nvPr/>
          </p:nvGrpSpPr>
          <p:grpSpPr>
            <a:xfrm>
              <a:off x="6715303" y="2291353"/>
              <a:ext cx="1134927" cy="669969"/>
              <a:chOff x="8469013" y="2289498"/>
              <a:chExt cx="1134927" cy="669969"/>
            </a:xfrm>
          </p:grpSpPr>
          <p:pic>
            <p:nvPicPr>
              <p:cNvPr id="175" name="Picture 174" descr="A close up of a logo&#10;&#10;Description automatically generated">
                <a:extLst>
                  <a:ext uri="{FF2B5EF4-FFF2-40B4-BE49-F238E27FC236}">
                    <a16:creationId xmlns:a16="http://schemas.microsoft.com/office/drawing/2014/main" id="{C321AFE2-859A-BDDD-2017-8B9C93130AD7}"/>
                  </a:ext>
                </a:extLst>
              </p:cNvPr>
              <p:cNvPicPr>
                <a:picLocks noChangeAspect="1"/>
              </p:cNvPicPr>
              <p:nvPr/>
            </p:nvPicPr>
            <p:blipFill>
              <a:blip r:embed="rId7"/>
              <a:stretch>
                <a:fillRect/>
              </a:stretch>
            </p:blipFill>
            <p:spPr>
              <a:xfrm>
                <a:off x="8876714" y="2289498"/>
                <a:ext cx="365760" cy="365761"/>
              </a:xfrm>
              <a:prstGeom prst="rect">
                <a:avLst/>
              </a:prstGeom>
            </p:spPr>
          </p:pic>
          <p:sp>
            <p:nvSpPr>
              <p:cNvPr id="180" name="TextBox 179">
                <a:extLst>
                  <a:ext uri="{FF2B5EF4-FFF2-40B4-BE49-F238E27FC236}">
                    <a16:creationId xmlns:a16="http://schemas.microsoft.com/office/drawing/2014/main" id="{A8D13FA0-C2D1-D8B1-26F3-D6B085335944}"/>
                  </a:ext>
                </a:extLst>
              </p:cNvPr>
              <p:cNvSpPr txBox="1"/>
              <p:nvPr/>
            </p:nvSpPr>
            <p:spPr>
              <a:xfrm>
                <a:off x="8469013" y="2774801"/>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utomate</a:t>
                </a:r>
              </a:p>
            </p:txBody>
          </p:sp>
        </p:grpSp>
        <p:grpSp>
          <p:nvGrpSpPr>
            <p:cNvPr id="26" name="Group 25">
              <a:extLst>
                <a:ext uri="{FF2B5EF4-FFF2-40B4-BE49-F238E27FC236}">
                  <a16:creationId xmlns:a16="http://schemas.microsoft.com/office/drawing/2014/main" id="{1793EF08-4675-9A05-FD20-C2BF43F179C6}"/>
                </a:ext>
              </a:extLst>
            </p:cNvPr>
            <p:cNvGrpSpPr/>
            <p:nvPr/>
          </p:nvGrpSpPr>
          <p:grpSpPr>
            <a:xfrm>
              <a:off x="8906683" y="2290197"/>
              <a:ext cx="1420261" cy="672282"/>
              <a:chOff x="9871500" y="1989683"/>
              <a:chExt cx="1420261" cy="672282"/>
            </a:xfrm>
          </p:grpSpPr>
          <p:pic>
            <p:nvPicPr>
              <p:cNvPr id="174" name="Picture 173" descr="A picture containing clock&#10;&#10;Description automatically generated">
                <a:extLst>
                  <a:ext uri="{FF2B5EF4-FFF2-40B4-BE49-F238E27FC236}">
                    <a16:creationId xmlns:a16="http://schemas.microsoft.com/office/drawing/2014/main" id="{E6B1F2C7-4DE4-D7CA-6061-E2D69E0C9927}"/>
                  </a:ext>
                </a:extLst>
              </p:cNvPr>
              <p:cNvPicPr>
                <a:picLocks noChangeAspect="1"/>
              </p:cNvPicPr>
              <p:nvPr/>
            </p:nvPicPr>
            <p:blipFill>
              <a:blip r:embed="rId8"/>
              <a:stretch>
                <a:fillRect/>
              </a:stretch>
            </p:blipFill>
            <p:spPr>
              <a:xfrm>
                <a:off x="10398750" y="1989683"/>
                <a:ext cx="365760" cy="365760"/>
              </a:xfrm>
              <a:prstGeom prst="rect">
                <a:avLst/>
              </a:prstGeom>
            </p:spPr>
          </p:pic>
          <p:sp>
            <p:nvSpPr>
              <p:cNvPr id="181" name="TextBox 180">
                <a:extLst>
                  <a:ext uri="{FF2B5EF4-FFF2-40B4-BE49-F238E27FC236}">
                    <a16:creationId xmlns:a16="http://schemas.microsoft.com/office/drawing/2014/main" id="{EEB44F71-30B6-E67A-A686-DC771E8C4A72}"/>
                  </a:ext>
                </a:extLst>
              </p:cNvPr>
              <p:cNvSpPr txBox="1"/>
              <p:nvPr/>
            </p:nvSpPr>
            <p:spPr>
              <a:xfrm>
                <a:off x="9871500" y="2477299"/>
                <a:ext cx="142026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Virtual Agents</a:t>
                </a:r>
              </a:p>
            </p:txBody>
          </p:sp>
        </p:grpSp>
      </p:grpSp>
      <p:sp>
        <p:nvSpPr>
          <p:cNvPr id="226" name="Freeform 2">
            <a:extLst>
              <a:ext uri="{FF2B5EF4-FFF2-40B4-BE49-F238E27FC236}">
                <a16:creationId xmlns:a16="http://schemas.microsoft.com/office/drawing/2014/main" id="{52072822-EA2E-1829-623F-7C4ABB259A9F}"/>
              </a:ext>
              <a:ext uri="{C183D7F6-B498-43B3-948B-1728B52AA6E4}">
                <adec:decorative xmlns:adec="http://schemas.microsoft.com/office/drawing/2017/decorative" val="1"/>
              </a:ext>
            </a:extLst>
          </p:cNvPr>
          <p:cNvSpPr>
            <a:spLocks noChangeArrowheads="1"/>
          </p:cNvSpPr>
          <p:nvPr/>
        </p:nvSpPr>
        <p:spPr bwMode="auto">
          <a:xfrm>
            <a:off x="2886318" y="5413910"/>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44" name="Group 243" descr="Azure Machine Learning">
            <a:extLst>
              <a:ext uri="{FF2B5EF4-FFF2-40B4-BE49-F238E27FC236}">
                <a16:creationId xmlns:a16="http://schemas.microsoft.com/office/drawing/2014/main" id="{1DA180CD-8B89-906A-FE49-17F72A199CAF}"/>
              </a:ext>
            </a:extLst>
          </p:cNvPr>
          <p:cNvGrpSpPr/>
          <p:nvPr/>
        </p:nvGrpSpPr>
        <p:grpSpPr>
          <a:xfrm>
            <a:off x="5609293" y="5709856"/>
            <a:ext cx="2151464" cy="413948"/>
            <a:chOff x="5766897" y="4951100"/>
            <a:chExt cx="2151464" cy="413948"/>
          </a:xfrm>
        </p:grpSpPr>
        <p:pic>
          <p:nvPicPr>
            <p:cNvPr id="245" name="Graphic 244">
              <a:extLst>
                <a:ext uri="{FF2B5EF4-FFF2-40B4-BE49-F238E27FC236}">
                  <a16:creationId xmlns:a16="http://schemas.microsoft.com/office/drawing/2014/main" id="{17CE85ED-FD1C-2999-47D7-D32F39D6C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66897" y="4951100"/>
              <a:ext cx="413950" cy="413948"/>
            </a:xfrm>
            <a:prstGeom prst="rect">
              <a:avLst/>
            </a:prstGeom>
          </p:spPr>
        </p:pic>
        <p:sp>
          <p:nvSpPr>
            <p:cNvPr id="246" name="TextBox 245">
              <a:extLst>
                <a:ext uri="{FF2B5EF4-FFF2-40B4-BE49-F238E27FC236}">
                  <a16:creationId xmlns:a16="http://schemas.microsoft.com/office/drawing/2014/main" id="{3151FEBD-8645-9578-FCAA-239B9FD4FB31}"/>
                </a:ext>
              </a:extLst>
            </p:cNvPr>
            <p:cNvSpPr txBox="1"/>
            <p:nvPr/>
          </p:nvSpPr>
          <p:spPr>
            <a:xfrm>
              <a:off x="6287273" y="5065740"/>
              <a:ext cx="163108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Machine Learning</a:t>
              </a:r>
            </a:p>
          </p:txBody>
        </p:sp>
      </p:grpSp>
      <p:sp>
        <p:nvSpPr>
          <p:cNvPr id="227" name="Freeform 2">
            <a:extLst>
              <a:ext uri="{FF2B5EF4-FFF2-40B4-BE49-F238E27FC236}">
                <a16:creationId xmlns:a16="http://schemas.microsoft.com/office/drawing/2014/main" id="{1BAC9947-D5B7-2275-A008-91889FA3BBEA}"/>
              </a:ext>
              <a:ext uri="{C183D7F6-B498-43B3-948B-1728B52AA6E4}">
                <adec:decorative xmlns:adec="http://schemas.microsoft.com/office/drawing/2017/decorative" val="1"/>
              </a:ext>
            </a:extLst>
          </p:cNvPr>
          <p:cNvSpPr>
            <a:spLocks noChangeArrowheads="1"/>
          </p:cNvSpPr>
          <p:nvPr/>
        </p:nvSpPr>
        <p:spPr bwMode="auto">
          <a:xfrm>
            <a:off x="2888077" y="4313232"/>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73" name="Vision" descr="Vision">
            <a:extLst>
              <a:ext uri="{FF2B5EF4-FFF2-40B4-BE49-F238E27FC236}">
                <a16:creationId xmlns:a16="http://schemas.microsoft.com/office/drawing/2014/main" id="{4E020AD1-EAE9-73AB-C869-ADFBE1871074}"/>
              </a:ext>
            </a:extLst>
          </p:cNvPr>
          <p:cNvGrpSpPr>
            <a:grpSpLocks noChangeAspect="1"/>
          </p:cNvGrpSpPr>
          <p:nvPr/>
        </p:nvGrpSpPr>
        <p:grpSpPr>
          <a:xfrm>
            <a:off x="3123735" y="4440127"/>
            <a:ext cx="365759" cy="379692"/>
            <a:chOff x="5548028" y="2938515"/>
            <a:chExt cx="455215" cy="461879"/>
          </a:xfrm>
        </p:grpSpPr>
        <p:grpSp>
          <p:nvGrpSpPr>
            <p:cNvPr id="274" name="Group 273">
              <a:extLst>
                <a:ext uri="{FF2B5EF4-FFF2-40B4-BE49-F238E27FC236}">
                  <a16:creationId xmlns:a16="http://schemas.microsoft.com/office/drawing/2014/main" id="{48F80B3F-D8F1-5EA3-7380-A6AACDEB004A}"/>
                </a:ext>
              </a:extLst>
            </p:cNvPr>
            <p:cNvGrpSpPr/>
            <p:nvPr/>
          </p:nvGrpSpPr>
          <p:grpSpPr>
            <a:xfrm>
              <a:off x="5548028" y="2938515"/>
              <a:ext cx="455215" cy="461879"/>
              <a:chOff x="5548028" y="2938515"/>
              <a:chExt cx="455215" cy="461879"/>
            </a:xfrm>
          </p:grpSpPr>
          <p:sp>
            <p:nvSpPr>
              <p:cNvPr id="294" name="Freeform: Shape 293">
                <a:extLst>
                  <a:ext uri="{FF2B5EF4-FFF2-40B4-BE49-F238E27FC236}">
                    <a16:creationId xmlns:a16="http://schemas.microsoft.com/office/drawing/2014/main" id="{37EF6459-E497-CDBF-373A-2A30EB8C25CA}"/>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Freeform: Shape 294">
                <a:extLst>
                  <a:ext uri="{FF2B5EF4-FFF2-40B4-BE49-F238E27FC236}">
                    <a16:creationId xmlns:a16="http://schemas.microsoft.com/office/drawing/2014/main" id="{83505EBE-102F-BC95-0A46-CFDA0A2F92BA}"/>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Freeform: Shape 295">
                <a:extLst>
                  <a:ext uri="{FF2B5EF4-FFF2-40B4-BE49-F238E27FC236}">
                    <a16:creationId xmlns:a16="http://schemas.microsoft.com/office/drawing/2014/main" id="{9859CE15-50C5-B88B-EEBF-30972B759A78}"/>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A50C60BE-7BBF-542B-3D25-6D9103B7A93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5" name="Straight Connector 274">
              <a:extLst>
                <a:ext uri="{FF2B5EF4-FFF2-40B4-BE49-F238E27FC236}">
                  <a16:creationId xmlns:a16="http://schemas.microsoft.com/office/drawing/2014/main" id="{0194A52C-B60A-6887-94DE-285C25B28F59}"/>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276" name="Straight Connector 275">
              <a:extLst>
                <a:ext uri="{FF2B5EF4-FFF2-40B4-BE49-F238E27FC236}">
                  <a16:creationId xmlns:a16="http://schemas.microsoft.com/office/drawing/2014/main" id="{562E0E69-98B2-19EC-9D80-7175549E8BDA}"/>
                </a:ext>
              </a:extLst>
            </p:cNvPr>
            <p:cNvCxnSpPr>
              <a:cxnSpLocks/>
              <a:endCxn id="287"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277" name="Straight Connector 276">
              <a:extLst>
                <a:ext uri="{FF2B5EF4-FFF2-40B4-BE49-F238E27FC236}">
                  <a16:creationId xmlns:a16="http://schemas.microsoft.com/office/drawing/2014/main" id="{AC93592A-C9ED-E9FF-85E0-7377A0E9E0DE}"/>
                </a:ext>
              </a:extLst>
            </p:cNvPr>
            <p:cNvCxnSpPr>
              <a:cxnSpLocks/>
              <a:stCxn id="292"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278" name="Straight Connector 277">
              <a:extLst>
                <a:ext uri="{FF2B5EF4-FFF2-40B4-BE49-F238E27FC236}">
                  <a16:creationId xmlns:a16="http://schemas.microsoft.com/office/drawing/2014/main" id="{C3E20546-3323-DBF6-11D7-E32AD8FCA7CE}"/>
                </a:ext>
              </a:extLst>
            </p:cNvPr>
            <p:cNvCxnSpPr>
              <a:cxnSpLocks/>
              <a:stCxn id="287" idx="0"/>
              <a:endCxn id="293"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279" name="Straight Connector 278">
              <a:extLst>
                <a:ext uri="{FF2B5EF4-FFF2-40B4-BE49-F238E27FC236}">
                  <a16:creationId xmlns:a16="http://schemas.microsoft.com/office/drawing/2014/main" id="{429E3E61-C501-CDFF-87B9-3C227A82D1BF}"/>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280" name="Straight Connector 279">
              <a:extLst>
                <a:ext uri="{FF2B5EF4-FFF2-40B4-BE49-F238E27FC236}">
                  <a16:creationId xmlns:a16="http://schemas.microsoft.com/office/drawing/2014/main" id="{5D0F9E20-073E-DC3E-8499-90D4FD594BC8}"/>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1" name="Straight Connector 280">
              <a:extLst>
                <a:ext uri="{FF2B5EF4-FFF2-40B4-BE49-F238E27FC236}">
                  <a16:creationId xmlns:a16="http://schemas.microsoft.com/office/drawing/2014/main" id="{1C603850-498F-5640-9103-D0B71E4BF9A6}"/>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2" name="Straight Connector 281">
              <a:extLst>
                <a:ext uri="{FF2B5EF4-FFF2-40B4-BE49-F238E27FC236}">
                  <a16:creationId xmlns:a16="http://schemas.microsoft.com/office/drawing/2014/main" id="{2FB50592-B41F-A158-9519-A3698707EC1E}"/>
                </a:ext>
              </a:extLst>
            </p:cNvPr>
            <p:cNvCxnSpPr>
              <a:cxnSpLocks/>
              <a:stCxn id="286"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283" name="Straight Connector 282">
              <a:extLst>
                <a:ext uri="{FF2B5EF4-FFF2-40B4-BE49-F238E27FC236}">
                  <a16:creationId xmlns:a16="http://schemas.microsoft.com/office/drawing/2014/main" id="{4EB0BD4E-9EA2-E626-624E-0F2E206DDEAD}"/>
                </a:ext>
              </a:extLst>
            </p:cNvPr>
            <p:cNvCxnSpPr>
              <a:cxnSpLocks/>
              <a:stCxn id="286"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284" name="Group 283">
              <a:extLst>
                <a:ext uri="{FF2B5EF4-FFF2-40B4-BE49-F238E27FC236}">
                  <a16:creationId xmlns:a16="http://schemas.microsoft.com/office/drawing/2014/main" id="{91CECC85-EC7E-84EE-CEEB-B56DFD8DD2A4}"/>
                </a:ext>
              </a:extLst>
            </p:cNvPr>
            <p:cNvGrpSpPr/>
            <p:nvPr/>
          </p:nvGrpSpPr>
          <p:grpSpPr>
            <a:xfrm>
              <a:off x="5645933" y="2971785"/>
              <a:ext cx="274035" cy="404067"/>
              <a:chOff x="5636354" y="2960513"/>
              <a:chExt cx="274035" cy="404067"/>
            </a:xfrm>
          </p:grpSpPr>
          <p:sp>
            <p:nvSpPr>
              <p:cNvPr id="285" name="Rectangle 284">
                <a:extLst>
                  <a:ext uri="{FF2B5EF4-FFF2-40B4-BE49-F238E27FC236}">
                    <a16:creationId xmlns:a16="http://schemas.microsoft.com/office/drawing/2014/main" id="{CE3F0A6B-C64F-E918-A64A-AFD41DB7F755}"/>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6590B890-4DB8-6B7D-D4A7-F893D0C0721E}"/>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42E3565B-E416-C687-FC5C-F015E12EBFD5}"/>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905D4A78-CF17-054A-A809-664DD24E514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A3609178-DAA5-752D-FE5A-248F6AAFCE5C}"/>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392234D9-90BE-44E7-245F-D8300614B599}"/>
                  </a:ext>
                </a:extLst>
              </p:cNvPr>
              <p:cNvGrpSpPr/>
              <p:nvPr/>
            </p:nvGrpSpPr>
            <p:grpSpPr>
              <a:xfrm>
                <a:off x="5636354" y="2960513"/>
                <a:ext cx="274035" cy="115338"/>
                <a:chOff x="5636354" y="2960513"/>
                <a:chExt cx="274035" cy="115338"/>
              </a:xfrm>
            </p:grpSpPr>
            <p:sp>
              <p:nvSpPr>
                <p:cNvPr id="291" name="Rectangle 290">
                  <a:extLst>
                    <a:ext uri="{FF2B5EF4-FFF2-40B4-BE49-F238E27FC236}">
                      <a16:creationId xmlns:a16="http://schemas.microsoft.com/office/drawing/2014/main" id="{DC7B7203-42EF-1B7F-5BCD-842C864F7A7E}"/>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B13CAE8-0044-B65D-6C20-0C06030688C4}"/>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38344BCD-B17F-69DA-CE54-86B6E740C16A}"/>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98" name="TextBox 297">
            <a:extLst>
              <a:ext uri="{FF2B5EF4-FFF2-40B4-BE49-F238E27FC236}">
                <a16:creationId xmlns:a16="http://schemas.microsoft.com/office/drawing/2014/main" id="{ABC3A64E-A366-11BB-BE58-A0B1610CB8F8}"/>
              </a:ext>
            </a:extLst>
          </p:cNvPr>
          <p:cNvSpPr txBox="1"/>
          <p:nvPr/>
        </p:nvSpPr>
        <p:spPr>
          <a:xfrm>
            <a:off x="3118749" y="5002003"/>
            <a:ext cx="4119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sion</a:t>
            </a:r>
          </a:p>
        </p:txBody>
      </p:sp>
      <p:grpSp>
        <p:nvGrpSpPr>
          <p:cNvPr id="263" name="Group 262" descr="Speech">
            <a:extLst>
              <a:ext uri="{FF2B5EF4-FFF2-40B4-BE49-F238E27FC236}">
                <a16:creationId xmlns:a16="http://schemas.microsoft.com/office/drawing/2014/main" id="{C7C8D046-16EA-A9A0-90DA-C7D3A120FC0E}"/>
              </a:ext>
            </a:extLst>
          </p:cNvPr>
          <p:cNvGrpSpPr>
            <a:grpSpLocks noChangeAspect="1"/>
          </p:cNvGrpSpPr>
          <p:nvPr/>
        </p:nvGrpSpPr>
        <p:grpSpPr>
          <a:xfrm>
            <a:off x="4735694" y="4451151"/>
            <a:ext cx="365761" cy="305713"/>
            <a:chOff x="5135117" y="4566359"/>
            <a:chExt cx="389565" cy="325609"/>
          </a:xfrm>
        </p:grpSpPr>
        <p:sp>
          <p:nvSpPr>
            <p:cNvPr id="264" name="Rectangle: Rounded Corners 263">
              <a:extLst>
                <a:ext uri="{FF2B5EF4-FFF2-40B4-BE49-F238E27FC236}">
                  <a16:creationId xmlns:a16="http://schemas.microsoft.com/office/drawing/2014/main" id="{A3FA5D40-ACB5-99E4-1413-1C6EB555AE30}"/>
                </a:ext>
              </a:extLst>
            </p:cNvPr>
            <p:cNvSpPr/>
            <p:nvPr/>
          </p:nvSpPr>
          <p:spPr bwMode="auto">
            <a:xfrm>
              <a:off x="5276793"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Rounded Corners 264">
              <a:extLst>
                <a:ext uri="{FF2B5EF4-FFF2-40B4-BE49-F238E27FC236}">
                  <a16:creationId xmlns:a16="http://schemas.microsoft.com/office/drawing/2014/main" id="{E8641DCF-FB63-9A55-0CCE-693070A08878}"/>
                </a:ext>
              </a:extLst>
            </p:cNvPr>
            <p:cNvSpPr/>
            <p:nvPr/>
          </p:nvSpPr>
          <p:spPr bwMode="auto">
            <a:xfrm>
              <a:off x="5322522" y="4566359"/>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ectangle: Rounded Corners 265">
              <a:extLst>
                <a:ext uri="{FF2B5EF4-FFF2-40B4-BE49-F238E27FC236}">
                  <a16:creationId xmlns:a16="http://schemas.microsoft.com/office/drawing/2014/main" id="{944F23FC-7E49-DD14-1FD0-185BC014A0C1}"/>
                </a:ext>
              </a:extLst>
            </p:cNvPr>
            <p:cNvSpPr/>
            <p:nvPr/>
          </p:nvSpPr>
          <p:spPr bwMode="auto">
            <a:xfrm>
              <a:off x="5368818"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Rounded Corners 266">
              <a:extLst>
                <a:ext uri="{FF2B5EF4-FFF2-40B4-BE49-F238E27FC236}">
                  <a16:creationId xmlns:a16="http://schemas.microsoft.com/office/drawing/2014/main" id="{6BECDE41-4F95-274C-BBAC-1C7AF9FB1034}"/>
                </a:ext>
              </a:extLst>
            </p:cNvPr>
            <p:cNvSpPr/>
            <p:nvPr/>
          </p:nvSpPr>
          <p:spPr bwMode="auto">
            <a:xfrm>
              <a:off x="5135117"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Rounded Corners 267">
              <a:extLst>
                <a:ext uri="{FF2B5EF4-FFF2-40B4-BE49-F238E27FC236}">
                  <a16:creationId xmlns:a16="http://schemas.microsoft.com/office/drawing/2014/main" id="{57B1F556-27EB-E69E-68D1-F6B71A3F697B}"/>
                </a:ext>
              </a:extLst>
            </p:cNvPr>
            <p:cNvSpPr/>
            <p:nvPr/>
          </p:nvSpPr>
          <p:spPr bwMode="auto">
            <a:xfrm>
              <a:off x="5182113"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42DB687A-2D47-C059-B1DD-D3A996050EF1}"/>
                </a:ext>
              </a:extLst>
            </p:cNvPr>
            <p:cNvSpPr/>
            <p:nvPr/>
          </p:nvSpPr>
          <p:spPr bwMode="auto">
            <a:xfrm>
              <a:off x="5228393"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Rounded Corners 269">
              <a:extLst>
                <a:ext uri="{FF2B5EF4-FFF2-40B4-BE49-F238E27FC236}">
                  <a16:creationId xmlns:a16="http://schemas.microsoft.com/office/drawing/2014/main" id="{FAB4A64A-FB0A-F41F-964A-AF9DF8F0784A}"/>
                </a:ext>
              </a:extLst>
            </p:cNvPr>
            <p:cNvSpPr/>
            <p:nvPr/>
          </p:nvSpPr>
          <p:spPr bwMode="auto">
            <a:xfrm>
              <a:off x="5417671"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Rounded Corners 270">
              <a:extLst>
                <a:ext uri="{FF2B5EF4-FFF2-40B4-BE49-F238E27FC236}">
                  <a16:creationId xmlns:a16="http://schemas.microsoft.com/office/drawing/2014/main" id="{2AB55D2E-647E-9CB7-A44E-7BF0D46ABD25}"/>
                </a:ext>
              </a:extLst>
            </p:cNvPr>
            <p:cNvSpPr/>
            <p:nvPr/>
          </p:nvSpPr>
          <p:spPr bwMode="auto">
            <a:xfrm>
              <a:off x="5458741"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EEB340AF-8EB7-534F-A4EB-2E40D15900DA}"/>
                </a:ext>
              </a:extLst>
            </p:cNvPr>
            <p:cNvSpPr/>
            <p:nvPr/>
          </p:nvSpPr>
          <p:spPr bwMode="auto">
            <a:xfrm>
              <a:off x="5508401"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9" name="TextBox 298">
            <a:extLst>
              <a:ext uri="{FF2B5EF4-FFF2-40B4-BE49-F238E27FC236}">
                <a16:creationId xmlns:a16="http://schemas.microsoft.com/office/drawing/2014/main" id="{0464FDD7-E99F-CE73-93B2-0ACEF52C1515}"/>
              </a:ext>
            </a:extLst>
          </p:cNvPr>
          <p:cNvSpPr txBox="1"/>
          <p:nvPr/>
        </p:nvSpPr>
        <p:spPr>
          <a:xfrm>
            <a:off x="4674497" y="5002003"/>
            <a:ext cx="48891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ech</a:t>
            </a:r>
          </a:p>
        </p:txBody>
      </p:sp>
      <p:grpSp>
        <p:nvGrpSpPr>
          <p:cNvPr id="247" name="Group 246" descr="Language">
            <a:extLst>
              <a:ext uri="{FF2B5EF4-FFF2-40B4-BE49-F238E27FC236}">
                <a16:creationId xmlns:a16="http://schemas.microsoft.com/office/drawing/2014/main" id="{15140C14-5D40-6667-E5EA-23DE65700B5E}"/>
              </a:ext>
            </a:extLst>
          </p:cNvPr>
          <p:cNvGrpSpPr>
            <a:grpSpLocks noChangeAspect="1"/>
          </p:cNvGrpSpPr>
          <p:nvPr/>
        </p:nvGrpSpPr>
        <p:grpSpPr>
          <a:xfrm>
            <a:off x="6342483" y="4453056"/>
            <a:ext cx="365759" cy="358628"/>
            <a:chOff x="7203929" y="4575567"/>
            <a:chExt cx="317550" cy="311358"/>
          </a:xfrm>
        </p:grpSpPr>
        <p:sp>
          <p:nvSpPr>
            <p:cNvPr id="248" name="Freeform: Shape 247">
              <a:extLst>
                <a:ext uri="{FF2B5EF4-FFF2-40B4-BE49-F238E27FC236}">
                  <a16:creationId xmlns:a16="http://schemas.microsoft.com/office/drawing/2014/main" id="{97B56C61-2081-9076-E601-21C7D9957177}"/>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E2A21632-7447-70FC-5275-0EF543DAB22D}"/>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Freeform: Shape 249">
              <a:extLst>
                <a:ext uri="{FF2B5EF4-FFF2-40B4-BE49-F238E27FC236}">
                  <a16:creationId xmlns:a16="http://schemas.microsoft.com/office/drawing/2014/main" id="{279A64B5-7EC5-6196-339E-B58BAB088C03}"/>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0" name="TextBox 299">
            <a:extLst>
              <a:ext uri="{FF2B5EF4-FFF2-40B4-BE49-F238E27FC236}">
                <a16:creationId xmlns:a16="http://schemas.microsoft.com/office/drawing/2014/main" id="{5071B232-E2DC-DBC6-2810-C0F6AB2AC6E5}"/>
              </a:ext>
            </a:extLst>
          </p:cNvPr>
          <p:cNvSpPr txBox="1"/>
          <p:nvPr/>
        </p:nvSpPr>
        <p:spPr>
          <a:xfrm>
            <a:off x="6195623" y="5002003"/>
            <a:ext cx="6652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Language</a:t>
            </a:r>
          </a:p>
        </p:txBody>
      </p:sp>
      <p:grpSp>
        <p:nvGrpSpPr>
          <p:cNvPr id="251" name="Group 250" descr="Decision">
            <a:extLst>
              <a:ext uri="{FF2B5EF4-FFF2-40B4-BE49-F238E27FC236}">
                <a16:creationId xmlns:a16="http://schemas.microsoft.com/office/drawing/2014/main" id="{8CDEE925-8F91-5850-BCCB-A8CD48FEDF74}"/>
              </a:ext>
            </a:extLst>
          </p:cNvPr>
          <p:cNvGrpSpPr>
            <a:grpSpLocks noChangeAspect="1"/>
          </p:cNvGrpSpPr>
          <p:nvPr/>
        </p:nvGrpSpPr>
        <p:grpSpPr>
          <a:xfrm>
            <a:off x="7949270" y="4440059"/>
            <a:ext cx="365762" cy="356315"/>
            <a:chOff x="9302126" y="4550136"/>
            <a:chExt cx="309543" cy="301558"/>
          </a:xfrm>
        </p:grpSpPr>
        <p:sp>
          <p:nvSpPr>
            <p:cNvPr id="252" name="Rectangle: Rounded Corners 251">
              <a:extLst>
                <a:ext uri="{FF2B5EF4-FFF2-40B4-BE49-F238E27FC236}">
                  <a16:creationId xmlns:a16="http://schemas.microsoft.com/office/drawing/2014/main" id="{E403FA4E-1ECE-4B8F-6D7B-86E159A50912}"/>
                </a:ext>
              </a:extLst>
            </p:cNvPr>
            <p:cNvSpPr/>
            <p:nvPr/>
          </p:nvSpPr>
          <p:spPr bwMode="auto">
            <a:xfrm rot="2700000">
              <a:off x="9539787" y="4664358"/>
              <a:ext cx="10568"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Rounded Corners 252">
              <a:extLst>
                <a:ext uri="{FF2B5EF4-FFF2-40B4-BE49-F238E27FC236}">
                  <a16:creationId xmlns:a16="http://schemas.microsoft.com/office/drawing/2014/main" id="{BCE269B6-BBEC-76F4-EE1E-E352DFA25A00}"/>
                </a:ext>
              </a:extLst>
            </p:cNvPr>
            <p:cNvSpPr/>
            <p:nvPr/>
          </p:nvSpPr>
          <p:spPr bwMode="auto">
            <a:xfrm rot="8100000">
              <a:off x="9540080" y="4662592"/>
              <a:ext cx="9983" cy="63818"/>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Circle: Hollow 253">
              <a:extLst>
                <a:ext uri="{FF2B5EF4-FFF2-40B4-BE49-F238E27FC236}">
                  <a16:creationId xmlns:a16="http://schemas.microsoft.com/office/drawing/2014/main" id="{25649361-808D-5834-CEFC-397387469795}"/>
                </a:ext>
              </a:extLst>
            </p:cNvPr>
            <p:cNvSpPr/>
            <p:nvPr/>
          </p:nvSpPr>
          <p:spPr bwMode="auto">
            <a:xfrm>
              <a:off x="9472967" y="4625083"/>
              <a:ext cx="138702" cy="146827"/>
            </a:xfrm>
            <a:prstGeom prst="donut">
              <a:avLst>
                <a:gd name="adj" fmla="val 7741"/>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Rounded Corners 254">
              <a:extLst>
                <a:ext uri="{FF2B5EF4-FFF2-40B4-BE49-F238E27FC236}">
                  <a16:creationId xmlns:a16="http://schemas.microsoft.com/office/drawing/2014/main" id="{96BD27FA-2142-E061-311E-7BA9B6148909}"/>
                </a:ext>
              </a:extLst>
            </p:cNvPr>
            <p:cNvSpPr/>
            <p:nvPr/>
          </p:nvSpPr>
          <p:spPr bwMode="auto">
            <a:xfrm flipH="1">
              <a:off x="9538128" y="4766580"/>
              <a:ext cx="14975" cy="5283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Rounded Corners 255">
              <a:extLst>
                <a:ext uri="{FF2B5EF4-FFF2-40B4-BE49-F238E27FC236}">
                  <a16:creationId xmlns:a16="http://schemas.microsoft.com/office/drawing/2014/main" id="{1F1733E9-7ACA-05C6-FCDD-1F364C111EA7}"/>
                </a:ext>
              </a:extLst>
            </p:cNvPr>
            <p:cNvSpPr/>
            <p:nvPr/>
          </p:nvSpPr>
          <p:spPr bwMode="auto">
            <a:xfrm rot="5400000">
              <a:off x="9539010" y="4782121"/>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Rounded Corners 256">
              <a:extLst>
                <a:ext uri="{FF2B5EF4-FFF2-40B4-BE49-F238E27FC236}">
                  <a16:creationId xmlns:a16="http://schemas.microsoft.com/office/drawing/2014/main" id="{054C7D8F-314A-4029-273D-0FDAA7FB0CD0}"/>
                </a:ext>
              </a:extLst>
            </p:cNvPr>
            <p:cNvSpPr/>
            <p:nvPr/>
          </p:nvSpPr>
          <p:spPr bwMode="auto">
            <a:xfrm rot="16200000" flipH="1">
              <a:off x="9539010" y="4810148"/>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2E718F5C-1A05-471D-346A-B14FA63EA692}"/>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ADAA2121-E2D6-37EA-2507-89EC2FF46386}"/>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Rounded Corners 259">
              <a:extLst>
                <a:ext uri="{FF2B5EF4-FFF2-40B4-BE49-F238E27FC236}">
                  <a16:creationId xmlns:a16="http://schemas.microsoft.com/office/drawing/2014/main" id="{BFF51E90-76DD-B2A3-FBFD-67D1619ACBC1}"/>
                </a:ext>
              </a:extLst>
            </p:cNvPr>
            <p:cNvSpPr/>
            <p:nvPr/>
          </p:nvSpPr>
          <p:spPr bwMode="auto">
            <a:xfrm flipH="1">
              <a:off x="9363840" y="4766580"/>
              <a:ext cx="14975" cy="8208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Rounded Corners 260">
              <a:extLst>
                <a:ext uri="{FF2B5EF4-FFF2-40B4-BE49-F238E27FC236}">
                  <a16:creationId xmlns:a16="http://schemas.microsoft.com/office/drawing/2014/main" id="{1973EA90-2BEA-F653-1365-6B93C54ED032}"/>
                </a:ext>
              </a:extLst>
            </p:cNvPr>
            <p:cNvSpPr/>
            <p:nvPr/>
          </p:nvSpPr>
          <p:spPr bwMode="auto">
            <a:xfrm rot="3197686">
              <a:off x="9382244" y="4797040"/>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Rounded Corners 261">
              <a:extLst>
                <a:ext uri="{FF2B5EF4-FFF2-40B4-BE49-F238E27FC236}">
                  <a16:creationId xmlns:a16="http://schemas.microsoft.com/office/drawing/2014/main" id="{1B6F0D9F-F449-CAD3-8678-03C6BF984567}"/>
                </a:ext>
              </a:extLst>
            </p:cNvPr>
            <p:cNvSpPr/>
            <p:nvPr/>
          </p:nvSpPr>
          <p:spPr bwMode="auto">
            <a:xfrm rot="18402314" flipH="1">
              <a:off x="9343647" y="4796105"/>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1" name="TextBox 300">
            <a:extLst>
              <a:ext uri="{FF2B5EF4-FFF2-40B4-BE49-F238E27FC236}">
                <a16:creationId xmlns:a16="http://schemas.microsoft.com/office/drawing/2014/main" id="{7A273F2B-EFE9-214E-C76F-C93C6593E5CC}"/>
              </a:ext>
            </a:extLst>
          </p:cNvPr>
          <p:cNvSpPr txBox="1"/>
          <p:nvPr/>
        </p:nvSpPr>
        <p:spPr>
          <a:xfrm>
            <a:off x="7842453" y="5002003"/>
            <a:ext cx="57387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Decision</a:t>
            </a:r>
          </a:p>
        </p:txBody>
      </p:sp>
      <p:sp>
        <p:nvSpPr>
          <p:cNvPr id="302" name="TextBox 301">
            <a:extLst>
              <a:ext uri="{FF2B5EF4-FFF2-40B4-BE49-F238E27FC236}">
                <a16:creationId xmlns:a16="http://schemas.microsoft.com/office/drawing/2014/main" id="{7EAEF2FE-FD9C-0BC7-B69B-9D3DD7B0BEDD}"/>
              </a:ext>
            </a:extLst>
          </p:cNvPr>
          <p:cNvSpPr txBox="1"/>
          <p:nvPr/>
        </p:nvSpPr>
        <p:spPr>
          <a:xfrm>
            <a:off x="9185862" y="4640491"/>
            <a:ext cx="98424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Open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ervice</a:t>
            </a:r>
          </a:p>
        </p:txBody>
      </p:sp>
      <p:sp>
        <p:nvSpPr>
          <p:cNvPr id="228" name="Freeform 2">
            <a:extLst>
              <a:ext uri="{FF2B5EF4-FFF2-40B4-BE49-F238E27FC236}">
                <a16:creationId xmlns:a16="http://schemas.microsoft.com/office/drawing/2014/main" id="{637C0297-7B8B-5869-641F-094537676CA2}"/>
              </a:ext>
              <a:ext uri="{C183D7F6-B498-43B3-948B-1728B52AA6E4}">
                <adec:decorative xmlns:adec="http://schemas.microsoft.com/office/drawing/2017/decorative" val="1"/>
              </a:ext>
            </a:extLst>
          </p:cNvPr>
          <p:cNvSpPr>
            <a:spLocks noChangeArrowheads="1"/>
          </p:cNvSpPr>
          <p:nvPr/>
        </p:nvSpPr>
        <p:spPr bwMode="auto">
          <a:xfrm>
            <a:off x="2886318" y="3212554"/>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7" name="TextBox 236">
            <a:extLst>
              <a:ext uri="{FF2B5EF4-FFF2-40B4-BE49-F238E27FC236}">
                <a16:creationId xmlns:a16="http://schemas.microsoft.com/office/drawing/2014/main" id="{0F04C122-448B-ED91-1713-129B6E063CBF}"/>
              </a:ext>
            </a:extLst>
          </p:cNvPr>
          <p:cNvSpPr txBox="1"/>
          <p:nvPr/>
        </p:nvSpPr>
        <p:spPr>
          <a:xfrm>
            <a:off x="8995649" y="3914058"/>
            <a:ext cx="125515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mmersive Reader </a:t>
            </a:r>
          </a:p>
        </p:txBody>
      </p:sp>
      <p:pic>
        <p:nvPicPr>
          <p:cNvPr id="238" name="Picture 237" descr="Immersive Reader">
            <a:extLst>
              <a:ext uri="{FF2B5EF4-FFF2-40B4-BE49-F238E27FC236}">
                <a16:creationId xmlns:a16="http://schemas.microsoft.com/office/drawing/2014/main" id="{3C0ED577-AE91-9A7D-571F-D44B1E9A3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27584" y="3336653"/>
            <a:ext cx="372109" cy="372109"/>
          </a:xfrm>
          <a:prstGeom prst="rect">
            <a:avLst/>
          </a:prstGeom>
        </p:spPr>
      </p:pic>
      <p:sp>
        <p:nvSpPr>
          <p:cNvPr id="234" name="TextBox 233">
            <a:extLst>
              <a:ext uri="{FF2B5EF4-FFF2-40B4-BE49-F238E27FC236}">
                <a16:creationId xmlns:a16="http://schemas.microsoft.com/office/drawing/2014/main" id="{AC208AA6-864D-B0BD-5678-F1A1383B8856}"/>
              </a:ext>
            </a:extLst>
          </p:cNvPr>
          <p:cNvSpPr txBox="1"/>
          <p:nvPr/>
        </p:nvSpPr>
        <p:spPr>
          <a:xfrm>
            <a:off x="5189579" y="3914058"/>
            <a:ext cx="152926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ocument Intelligence</a:t>
            </a:r>
          </a:p>
        </p:txBody>
      </p:sp>
      <p:pic>
        <p:nvPicPr>
          <p:cNvPr id="239" name="Graphic 238" descr="Form Recognizer">
            <a:extLst>
              <a:ext uri="{FF2B5EF4-FFF2-40B4-BE49-F238E27FC236}">
                <a16:creationId xmlns:a16="http://schemas.microsoft.com/office/drawing/2014/main" id="{B1F8EAD3-8914-EDB1-34D4-629798C552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71331" y="3336653"/>
            <a:ext cx="365760" cy="365760"/>
          </a:xfrm>
          <a:prstGeom prst="rect">
            <a:avLst/>
          </a:prstGeom>
        </p:spPr>
      </p:pic>
      <p:sp>
        <p:nvSpPr>
          <p:cNvPr id="232" name="TextBox 231">
            <a:extLst>
              <a:ext uri="{FF2B5EF4-FFF2-40B4-BE49-F238E27FC236}">
                <a16:creationId xmlns:a16="http://schemas.microsoft.com/office/drawing/2014/main" id="{0B6D9E71-CAAA-25D1-9174-698C5C5B9148}"/>
              </a:ext>
            </a:extLst>
          </p:cNvPr>
          <p:cNvSpPr txBox="1"/>
          <p:nvPr/>
        </p:nvSpPr>
        <p:spPr>
          <a:xfrm>
            <a:off x="3113329" y="3914058"/>
            <a:ext cx="74860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Bot Service</a:t>
            </a:r>
          </a:p>
        </p:txBody>
      </p:sp>
      <p:pic>
        <p:nvPicPr>
          <p:cNvPr id="240" name="Graphic 239" descr="Bot Service">
            <a:extLst>
              <a:ext uri="{FF2B5EF4-FFF2-40B4-BE49-F238E27FC236}">
                <a16:creationId xmlns:a16="http://schemas.microsoft.com/office/drawing/2014/main" id="{C4077C7F-8E35-843B-566A-38BC0CDBCE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66343" y="3336653"/>
            <a:ext cx="365760" cy="365761"/>
          </a:xfrm>
          <a:prstGeom prst="rect">
            <a:avLst/>
          </a:prstGeom>
        </p:spPr>
      </p:pic>
      <p:sp>
        <p:nvSpPr>
          <p:cNvPr id="235" name="TextBox 234">
            <a:extLst>
              <a:ext uri="{FF2B5EF4-FFF2-40B4-BE49-F238E27FC236}">
                <a16:creationId xmlns:a16="http://schemas.microsoft.com/office/drawing/2014/main" id="{FAD56C0D-A25B-2F69-349A-4626C65B43BF}"/>
              </a:ext>
            </a:extLst>
          </p:cNvPr>
          <p:cNvSpPr txBox="1"/>
          <p:nvPr/>
        </p:nvSpPr>
        <p:spPr>
          <a:xfrm>
            <a:off x="6815204" y="3914058"/>
            <a:ext cx="93936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Video Indexer</a:t>
            </a:r>
          </a:p>
        </p:txBody>
      </p:sp>
      <p:pic>
        <p:nvPicPr>
          <p:cNvPr id="241" name="Graphic 240" descr="video indexer icon">
            <a:extLst>
              <a:ext uri="{FF2B5EF4-FFF2-40B4-BE49-F238E27FC236}">
                <a16:creationId xmlns:a16="http://schemas.microsoft.com/office/drawing/2014/main" id="{4CA26F3A-464F-26F9-647F-1B4924AA1C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9886" y="3336653"/>
            <a:ext cx="365760" cy="365761"/>
          </a:xfrm>
          <a:prstGeom prst="rect">
            <a:avLst/>
          </a:prstGeom>
        </p:spPr>
      </p:pic>
      <p:sp>
        <p:nvSpPr>
          <p:cNvPr id="236" name="TextBox 235">
            <a:extLst>
              <a:ext uri="{FF2B5EF4-FFF2-40B4-BE49-F238E27FC236}">
                <a16:creationId xmlns:a16="http://schemas.microsoft.com/office/drawing/2014/main" id="{36F4E90D-3FF7-8A56-F10B-F47DAB4738AF}"/>
              </a:ext>
            </a:extLst>
          </p:cNvPr>
          <p:cNvSpPr txBox="1"/>
          <p:nvPr/>
        </p:nvSpPr>
        <p:spPr>
          <a:xfrm>
            <a:off x="7850924" y="3914058"/>
            <a:ext cx="104836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Metrics Advisor</a:t>
            </a:r>
          </a:p>
        </p:txBody>
      </p:sp>
      <p:pic>
        <p:nvPicPr>
          <p:cNvPr id="242" name="Graphic 241" descr="Metrics Advisor graphic">
            <a:extLst>
              <a:ext uri="{FF2B5EF4-FFF2-40B4-BE49-F238E27FC236}">
                <a16:creationId xmlns:a16="http://schemas.microsoft.com/office/drawing/2014/main" id="{53CD5C4D-1A8B-A622-55C1-D9924FF5322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5695" y="3336653"/>
            <a:ext cx="365760" cy="365760"/>
          </a:xfrm>
          <a:prstGeom prst="rect">
            <a:avLst/>
          </a:prstGeom>
        </p:spPr>
      </p:pic>
      <p:sp>
        <p:nvSpPr>
          <p:cNvPr id="233" name="TextBox 232">
            <a:extLst>
              <a:ext uri="{FF2B5EF4-FFF2-40B4-BE49-F238E27FC236}">
                <a16:creationId xmlns:a16="http://schemas.microsoft.com/office/drawing/2014/main" id="{C50B60AA-CC26-2B34-ADED-7A703C35B866}"/>
              </a:ext>
            </a:extLst>
          </p:cNvPr>
          <p:cNvSpPr txBox="1"/>
          <p:nvPr/>
        </p:nvSpPr>
        <p:spPr>
          <a:xfrm>
            <a:off x="3958292" y="3914058"/>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Cognitive Search</a:t>
            </a:r>
          </a:p>
        </p:txBody>
      </p:sp>
      <p:pic>
        <p:nvPicPr>
          <p:cNvPr id="243" name="Graphic 242" descr="Cognitive Search graphic">
            <a:extLst>
              <a:ext uri="{FF2B5EF4-FFF2-40B4-BE49-F238E27FC236}">
                <a16:creationId xmlns:a16="http://schemas.microsoft.com/office/drawing/2014/main" id="{6512B17B-DBD5-63ED-134E-2364E6102C6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42875" y="3336653"/>
            <a:ext cx="365760" cy="365761"/>
          </a:xfrm>
          <a:prstGeom prst="rect">
            <a:avLst/>
          </a:prstGeom>
        </p:spPr>
      </p:pic>
      <p:sp>
        <p:nvSpPr>
          <p:cNvPr id="35" name="Right Bracket 34">
            <a:extLst>
              <a:ext uri="{FF2B5EF4-FFF2-40B4-BE49-F238E27FC236}">
                <a16:creationId xmlns:a16="http://schemas.microsoft.com/office/drawing/2014/main" id="{33EB235D-9C68-2FD5-BDC2-8BB9D245BA89}"/>
              </a:ext>
              <a:ext uri="{C183D7F6-B498-43B3-948B-1728B52AA6E4}">
                <adec:decorative xmlns:adec="http://schemas.microsoft.com/office/drawing/2017/decorative" val="1"/>
              </a:ext>
            </a:extLst>
          </p:cNvPr>
          <p:cNvSpPr/>
          <p:nvPr/>
        </p:nvSpPr>
        <p:spPr>
          <a:xfrm>
            <a:off x="10606261" y="3212555"/>
            <a:ext cx="360172" cy="3207196"/>
          </a:xfrm>
          <a:prstGeom prst="rightBracket">
            <a:avLst>
              <a:gd name="adj" fmla="val 116543"/>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202">
            <a:extLst>
              <a:ext uri="{FF2B5EF4-FFF2-40B4-BE49-F238E27FC236}">
                <a16:creationId xmlns:a16="http://schemas.microsoft.com/office/drawing/2014/main" id="{FD62F3F9-151D-1808-56C3-4845674DBB08}"/>
              </a:ext>
              <a:ext uri="{C183D7F6-B498-43B3-948B-1728B52AA6E4}">
                <adec:decorative xmlns:adec="http://schemas.microsoft.com/office/drawing/2017/decorative" val="1"/>
              </a:ext>
            </a:extLst>
          </p:cNvPr>
          <p:cNvSpPr/>
          <p:nvPr/>
        </p:nvSpPr>
        <p:spPr bwMode="auto">
          <a:xfrm>
            <a:off x="10813072" y="4375232"/>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descr="Graphic of Developers and Data Scientists">
            <a:extLst>
              <a:ext uri="{FF2B5EF4-FFF2-40B4-BE49-F238E27FC236}">
                <a16:creationId xmlns:a16="http://schemas.microsoft.com/office/drawing/2014/main" id="{B99CD628-6919-F85E-911B-5F946CB2891C}"/>
              </a:ext>
            </a:extLst>
          </p:cNvPr>
          <p:cNvGrpSpPr/>
          <p:nvPr/>
        </p:nvGrpSpPr>
        <p:grpSpPr>
          <a:xfrm>
            <a:off x="10581242" y="4470832"/>
            <a:ext cx="1057440" cy="723858"/>
            <a:chOff x="70690" y="4603614"/>
            <a:chExt cx="1057440" cy="723858"/>
          </a:xfrm>
        </p:grpSpPr>
        <p:sp>
          <p:nvSpPr>
            <p:cNvPr id="204" name="TextBox 203">
              <a:extLst>
                <a:ext uri="{FF2B5EF4-FFF2-40B4-BE49-F238E27FC236}">
                  <a16:creationId xmlns:a16="http://schemas.microsoft.com/office/drawing/2014/main" id="{1198A5BE-DC16-CE93-03EC-A4A8328E04A6}"/>
                </a:ext>
              </a:extLst>
            </p:cNvPr>
            <p:cNvSpPr txBox="1"/>
            <p:nvPr/>
          </p:nvSpPr>
          <p:spPr>
            <a:xfrm>
              <a:off x="70690" y="4995073"/>
              <a:ext cx="1057440" cy="332399"/>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elopers &amp; Data Scientists </a:t>
              </a:r>
            </a:p>
          </p:txBody>
        </p:sp>
        <p:grpSp>
          <p:nvGrpSpPr>
            <p:cNvPr id="205" name="Group 204">
              <a:extLst>
                <a:ext uri="{FF2B5EF4-FFF2-40B4-BE49-F238E27FC236}">
                  <a16:creationId xmlns:a16="http://schemas.microsoft.com/office/drawing/2014/main" id="{4D7D8497-D2FF-B6CB-41F2-40AEE04E4EFF}"/>
                </a:ext>
              </a:extLst>
            </p:cNvPr>
            <p:cNvGrpSpPr/>
            <p:nvPr/>
          </p:nvGrpSpPr>
          <p:grpSpPr>
            <a:xfrm>
              <a:off x="300547" y="4603614"/>
              <a:ext cx="533943" cy="337728"/>
              <a:chOff x="5131145" y="-41574"/>
              <a:chExt cx="703082" cy="444713"/>
            </a:xfrm>
          </p:grpSpPr>
          <p:pic>
            <p:nvPicPr>
              <p:cNvPr id="206" name="Graphic 205">
                <a:extLst>
                  <a:ext uri="{FF2B5EF4-FFF2-40B4-BE49-F238E27FC236}">
                    <a16:creationId xmlns:a16="http://schemas.microsoft.com/office/drawing/2014/main" id="{503A40CF-4A65-0F77-588C-14C5ADD0C86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389514" y="-41574"/>
                <a:ext cx="444713" cy="444713"/>
              </a:xfrm>
              <a:prstGeom prst="rect">
                <a:avLst/>
              </a:prstGeom>
            </p:spPr>
          </p:pic>
          <p:pic>
            <p:nvPicPr>
              <p:cNvPr id="207" name="Graphic 206">
                <a:extLst>
                  <a:ext uri="{FF2B5EF4-FFF2-40B4-BE49-F238E27FC236}">
                    <a16:creationId xmlns:a16="http://schemas.microsoft.com/office/drawing/2014/main" id="{1ADB4248-F85E-D195-1BA1-11FA89BBB43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31145" y="-14404"/>
                <a:ext cx="394711" cy="394711"/>
              </a:xfrm>
              <a:prstGeom prst="rect">
                <a:avLst/>
              </a:prstGeom>
            </p:spPr>
          </p:pic>
        </p:grpSp>
      </p:grpSp>
      <p:sp>
        <p:nvSpPr>
          <p:cNvPr id="36" name="Right Bracket 35">
            <a:extLst>
              <a:ext uri="{FF2B5EF4-FFF2-40B4-BE49-F238E27FC236}">
                <a16:creationId xmlns:a16="http://schemas.microsoft.com/office/drawing/2014/main" id="{1DCC3A10-09EC-B10B-E3F8-97C6ADFA084E}"/>
              </a:ext>
              <a:ext uri="{C183D7F6-B498-43B3-948B-1728B52AA6E4}">
                <adec:decorative xmlns:adec="http://schemas.microsoft.com/office/drawing/2017/decorative" val="1"/>
              </a:ext>
            </a:extLst>
          </p:cNvPr>
          <p:cNvSpPr/>
          <p:nvPr/>
        </p:nvSpPr>
        <p:spPr>
          <a:xfrm>
            <a:off x="10601536" y="1011198"/>
            <a:ext cx="360172" cy="2105758"/>
          </a:xfrm>
          <a:prstGeom prst="rightBracket">
            <a:avLst>
              <a:gd name="adj" fmla="val 79085"/>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a:extLst>
              <a:ext uri="{FF2B5EF4-FFF2-40B4-BE49-F238E27FC236}">
                <a16:creationId xmlns:a16="http://schemas.microsoft.com/office/drawing/2014/main" id="{0FA6CAA3-BA7A-A1E9-37A8-C2D7463A047E}"/>
              </a:ext>
              <a:ext uri="{C183D7F6-B498-43B3-948B-1728B52AA6E4}">
                <adec:decorative xmlns:adec="http://schemas.microsoft.com/office/drawing/2017/decorative" val="1"/>
              </a:ext>
            </a:extLst>
          </p:cNvPr>
          <p:cNvSpPr/>
          <p:nvPr/>
        </p:nvSpPr>
        <p:spPr bwMode="auto">
          <a:xfrm>
            <a:off x="10841593" y="1623156"/>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descr="Graphic of Business Users">
            <a:extLst>
              <a:ext uri="{FF2B5EF4-FFF2-40B4-BE49-F238E27FC236}">
                <a16:creationId xmlns:a16="http://schemas.microsoft.com/office/drawing/2014/main" id="{BC5F570D-0172-7721-0F2C-8625FCC4C1D8}"/>
              </a:ext>
            </a:extLst>
          </p:cNvPr>
          <p:cNvGrpSpPr/>
          <p:nvPr/>
        </p:nvGrpSpPr>
        <p:grpSpPr>
          <a:xfrm>
            <a:off x="10655236" y="1720505"/>
            <a:ext cx="689805" cy="720359"/>
            <a:chOff x="10065331" y="1702953"/>
            <a:chExt cx="689805" cy="720359"/>
          </a:xfrm>
        </p:grpSpPr>
        <p:sp>
          <p:nvSpPr>
            <p:cNvPr id="211" name="TextBox 210">
              <a:extLst>
                <a:ext uri="{FF2B5EF4-FFF2-40B4-BE49-F238E27FC236}">
                  <a16:creationId xmlns:a16="http://schemas.microsoft.com/office/drawing/2014/main" id="{6452D088-4CBD-A381-2B8E-AE603AB1EB48}"/>
                </a:ext>
              </a:extLst>
            </p:cNvPr>
            <p:cNvSpPr txBox="1"/>
            <p:nvPr/>
          </p:nvSpPr>
          <p:spPr>
            <a:xfrm>
              <a:off x="10065331" y="2090913"/>
              <a:ext cx="689805" cy="332399"/>
            </a:xfrm>
            <a:prstGeom prst="rect">
              <a:avLst/>
            </a:prstGeom>
            <a:noFill/>
          </p:spPr>
          <p:txBody>
            <a:bodyPr wrap="square" lIns="0" tIns="0" rIns="0" bIns="0" rtlCol="0">
              <a:spAutoFit/>
            </a:body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usiness Users</a:t>
              </a:r>
            </a:p>
          </p:txBody>
        </p:sp>
        <p:grpSp>
          <p:nvGrpSpPr>
            <p:cNvPr id="212" name="Group 211">
              <a:extLst>
                <a:ext uri="{FF2B5EF4-FFF2-40B4-BE49-F238E27FC236}">
                  <a16:creationId xmlns:a16="http://schemas.microsoft.com/office/drawing/2014/main" id="{83AE07DA-B40B-D040-B184-B795476F780F}"/>
                </a:ext>
              </a:extLst>
            </p:cNvPr>
            <p:cNvGrpSpPr/>
            <p:nvPr/>
          </p:nvGrpSpPr>
          <p:grpSpPr>
            <a:xfrm>
              <a:off x="10108191" y="1702953"/>
              <a:ext cx="511196" cy="331940"/>
              <a:chOff x="4053860" y="-1864422"/>
              <a:chExt cx="673129" cy="437091"/>
            </a:xfrm>
          </p:grpSpPr>
          <p:pic>
            <p:nvPicPr>
              <p:cNvPr id="213" name="Graphic 212">
                <a:extLst>
                  <a:ext uri="{FF2B5EF4-FFF2-40B4-BE49-F238E27FC236}">
                    <a16:creationId xmlns:a16="http://schemas.microsoft.com/office/drawing/2014/main" id="{1A569213-5D24-77D7-8F4E-B95F5D2BD4D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289898" y="-1864422"/>
                <a:ext cx="437091" cy="437091"/>
              </a:xfrm>
              <a:prstGeom prst="rect">
                <a:avLst/>
              </a:prstGeom>
            </p:spPr>
          </p:pic>
          <p:pic>
            <p:nvPicPr>
              <p:cNvPr id="214" name="Graphic 213">
                <a:extLst>
                  <a:ext uri="{FF2B5EF4-FFF2-40B4-BE49-F238E27FC236}">
                    <a16:creationId xmlns:a16="http://schemas.microsoft.com/office/drawing/2014/main" id="{27A84DD9-5FC1-75CE-6144-9F2ADD2E016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053860" y="-1838330"/>
                <a:ext cx="394711" cy="394711"/>
              </a:xfrm>
              <a:prstGeom prst="rect">
                <a:avLst/>
              </a:prstGeom>
            </p:spPr>
          </p:pic>
        </p:grpSp>
      </p:grpSp>
      <p:sp>
        <p:nvSpPr>
          <p:cNvPr id="6" name="Frame 5">
            <a:extLst>
              <a:ext uri="{FF2B5EF4-FFF2-40B4-BE49-F238E27FC236}">
                <a16:creationId xmlns:a16="http://schemas.microsoft.com/office/drawing/2014/main" id="{AC822195-AA74-B1C7-9534-34B619CC6F3B}"/>
              </a:ext>
              <a:ext uri="{C183D7F6-B498-43B3-948B-1728B52AA6E4}">
                <adec:decorative xmlns:adec="http://schemas.microsoft.com/office/drawing/2017/decorative" val="1"/>
              </a:ext>
            </a:extLst>
          </p:cNvPr>
          <p:cNvSpPr/>
          <p:nvPr/>
        </p:nvSpPr>
        <p:spPr bwMode="auto">
          <a:xfrm>
            <a:off x="8734406" y="4296047"/>
            <a:ext cx="1792234" cy="1030506"/>
          </a:xfrm>
          <a:prstGeom prst="frame">
            <a:avLst>
              <a:gd name="adj1" fmla="val 9149"/>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Tree>
    <p:extLst>
      <p:ext uri="{BB962C8B-B14F-4D97-AF65-F5344CB8AC3E}">
        <p14:creationId xmlns:p14="http://schemas.microsoft.com/office/powerpoint/2010/main" val="1145670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A4D02B-413C-4FDC-FCEA-EBD1CDFAAC49}"/>
              </a:ext>
              <a:ext uri="{C183D7F6-B498-43B3-948B-1728B52AA6E4}">
                <adec:decorative xmlns:adec="http://schemas.microsoft.com/office/drawing/2017/decorative" val="1"/>
              </a:ext>
            </a:extLst>
          </p:cNvPr>
          <p:cNvSpPr/>
          <p:nvPr/>
        </p:nvSpPr>
        <p:spPr bwMode="auto">
          <a:xfrm>
            <a:off x="2013296" y="3575718"/>
            <a:ext cx="9399875" cy="1329385"/>
          </a:xfrm>
          <a:prstGeom prst="roundRect">
            <a:avLst>
              <a:gd name="adj" fmla="val 23600"/>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5" name="Rectangle: Rounded Corners 2">
            <a:extLst>
              <a:ext uri="{FF2B5EF4-FFF2-40B4-BE49-F238E27FC236}">
                <a16:creationId xmlns:a16="http://schemas.microsoft.com/office/drawing/2014/main" id="{AB4D2DEB-1429-05BF-BEAD-77C1F181E5AF}"/>
              </a:ext>
              <a:ext uri="{C183D7F6-B498-43B3-948B-1728B52AA6E4}">
                <adec:decorative xmlns:adec="http://schemas.microsoft.com/office/drawing/2017/decorative" val="1"/>
              </a:ext>
            </a:extLst>
          </p:cNvPr>
          <p:cNvSpPr/>
          <p:nvPr/>
        </p:nvSpPr>
        <p:spPr bwMode="auto">
          <a:xfrm>
            <a:off x="2013294" y="6125568"/>
            <a:ext cx="9399875" cy="211521"/>
          </a:xfrm>
          <a:custGeom>
            <a:avLst/>
            <a:gdLst>
              <a:gd name="connsiteX0" fmla="*/ 0 w 9620250"/>
              <a:gd name="connsiteY0" fmla="*/ 304179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8" fmla="*/ 0 w 9620250"/>
              <a:gd name="connsiteY8" fmla="*/ 304179 h 5301140"/>
              <a:gd name="connsiteX0" fmla="*/ 0 w 9620250"/>
              <a:gd name="connsiteY0" fmla="*/ 4996961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7" fmla="*/ 395619 w 9620250"/>
              <a:gd name="connsiteY7" fmla="*/ 91440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0" fmla="*/ 9316071 w 9620250"/>
              <a:gd name="connsiteY0" fmla="*/ 0 h 5301140"/>
              <a:gd name="connsiteX1" fmla="*/ 9620250 w 9620250"/>
              <a:gd name="connsiteY1" fmla="*/ 304179 h 5301140"/>
              <a:gd name="connsiteX2" fmla="*/ 9620250 w 9620250"/>
              <a:gd name="connsiteY2" fmla="*/ 4996961 h 5301140"/>
              <a:gd name="connsiteX3" fmla="*/ 9316071 w 9620250"/>
              <a:gd name="connsiteY3" fmla="*/ 5301140 h 5301140"/>
              <a:gd name="connsiteX4" fmla="*/ 304179 w 9620250"/>
              <a:gd name="connsiteY4" fmla="*/ 5301140 h 5301140"/>
              <a:gd name="connsiteX5" fmla="*/ 0 w 9620250"/>
              <a:gd name="connsiteY5" fmla="*/ 4996961 h 5301140"/>
              <a:gd name="connsiteX0" fmla="*/ 9620250 w 9620250"/>
              <a:gd name="connsiteY0" fmla="*/ 0 h 4996961"/>
              <a:gd name="connsiteX1" fmla="*/ 9620250 w 9620250"/>
              <a:gd name="connsiteY1" fmla="*/ 4692782 h 4996961"/>
              <a:gd name="connsiteX2" fmla="*/ 9316071 w 9620250"/>
              <a:gd name="connsiteY2" fmla="*/ 4996961 h 4996961"/>
              <a:gd name="connsiteX3" fmla="*/ 304179 w 9620250"/>
              <a:gd name="connsiteY3" fmla="*/ 4996961 h 4996961"/>
              <a:gd name="connsiteX4" fmla="*/ 0 w 9620250"/>
              <a:gd name="connsiteY4" fmla="*/ 4692782 h 4996961"/>
              <a:gd name="connsiteX0" fmla="*/ 9620250 w 9620250"/>
              <a:gd name="connsiteY0" fmla="*/ 0 h 304179"/>
              <a:gd name="connsiteX1" fmla="*/ 9316071 w 9620250"/>
              <a:gd name="connsiteY1" fmla="*/ 304179 h 304179"/>
              <a:gd name="connsiteX2" fmla="*/ 304179 w 9620250"/>
              <a:gd name="connsiteY2" fmla="*/ 304179 h 304179"/>
              <a:gd name="connsiteX3" fmla="*/ 0 w 9620250"/>
              <a:gd name="connsiteY3" fmla="*/ 0 h 304179"/>
            </a:gdLst>
            <a:ahLst/>
            <a:cxnLst>
              <a:cxn ang="0">
                <a:pos x="connsiteX0" y="connsiteY0"/>
              </a:cxn>
              <a:cxn ang="0">
                <a:pos x="connsiteX1" y="connsiteY1"/>
              </a:cxn>
              <a:cxn ang="0">
                <a:pos x="connsiteX2" y="connsiteY2"/>
              </a:cxn>
              <a:cxn ang="0">
                <a:pos x="connsiteX3" y="connsiteY3"/>
              </a:cxn>
            </a:cxnLst>
            <a:rect l="l" t="t" r="r" b="b"/>
            <a:pathLst>
              <a:path w="9620250" h="304179">
                <a:moveTo>
                  <a:pt x="9620250" y="0"/>
                </a:moveTo>
                <a:cubicBezTo>
                  <a:pt x="9620250" y="167993"/>
                  <a:pt x="9484064" y="304179"/>
                  <a:pt x="9316071" y="304179"/>
                </a:cubicBezTo>
                <a:lnTo>
                  <a:pt x="304179" y="304179"/>
                </a:lnTo>
                <a:cubicBezTo>
                  <a:pt x="136186" y="304179"/>
                  <a:pt x="0" y="167993"/>
                  <a:pt x="0" y="0"/>
                </a:cubicBezTo>
              </a:path>
            </a:pathLst>
          </a:cu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sp>
        <p:nvSpPr>
          <p:cNvPr id="272" name="Rectangle 271" descr="Azure AI Infrastructure ">
            <a:extLst>
              <a:ext uri="{FF2B5EF4-FFF2-40B4-BE49-F238E27FC236}">
                <a16:creationId xmlns:a16="http://schemas.microsoft.com/office/drawing/2014/main" id="{B8D13905-37EB-161A-5AB9-8AC7CBF96283}"/>
              </a:ext>
            </a:extLst>
          </p:cNvPr>
          <p:cNvSpPr/>
          <p:nvPr/>
        </p:nvSpPr>
        <p:spPr bwMode="auto">
          <a:xfrm>
            <a:off x="5256496" y="6191782"/>
            <a:ext cx="2779358" cy="354727"/>
          </a:xfrm>
          <a:prstGeom prst="rect">
            <a:avLst/>
          </a:prstGeom>
          <a:solidFill>
            <a:schemeClr val="tx2">
              <a:lumMod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8" name="TextBox 110">
            <a:extLst>
              <a:ext uri="{FF2B5EF4-FFF2-40B4-BE49-F238E27FC236}">
                <a16:creationId xmlns:a16="http://schemas.microsoft.com/office/drawing/2014/main" id="{F780D5C6-AE49-208B-BEC3-62F55614BC74}"/>
              </a:ext>
            </a:extLst>
          </p:cNvPr>
          <p:cNvSpPr txBox="1"/>
          <p:nvPr/>
        </p:nvSpPr>
        <p:spPr>
          <a:xfrm>
            <a:off x="4624910" y="6207039"/>
            <a:ext cx="4036706"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AI Infra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State-of-art supercomputing to power AI workloads</a:t>
            </a:r>
          </a:p>
        </p:txBody>
      </p:sp>
      <p:sp>
        <p:nvSpPr>
          <p:cNvPr id="308" name="TextBox 128">
            <a:extLst>
              <a:ext uri="{FF2B5EF4-FFF2-40B4-BE49-F238E27FC236}">
                <a16:creationId xmlns:a16="http://schemas.microsoft.com/office/drawing/2014/main" id="{4929C740-44DB-AADA-B12B-DFDED00C8D8B}"/>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The Microsoft </a:t>
            </a:r>
            <a:r>
              <a:rPr kumimoji="0" lang="en-US" sz="3200" b="0" i="0" u="none" strike="noStrike" kern="1200" cap="none" spc="0" normalizeH="0" baseline="0" noProof="0">
                <a:ln>
                  <a:noFill/>
                </a:ln>
                <a:gradFill>
                  <a:gsLst>
                    <a:gs pos="0">
                      <a:srgbClr val="0078D3"/>
                    </a:gs>
                    <a:gs pos="100000">
                      <a:srgbClr val="BE58C8"/>
                    </a:gs>
                  </a:gsLst>
                  <a:lin ang="1380000" scaled="0"/>
                </a:gradFill>
                <a:effectLst/>
                <a:uLnTx/>
                <a:uFillTx/>
                <a:latin typeface="Segoe UI Semibold 8"/>
                <a:ea typeface="+mn-ea"/>
                <a:cs typeface="Segoe UI"/>
              </a:rPr>
              <a:t>Azure AI </a:t>
            </a: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Portfolio</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Semibold 8"/>
              <a:ea typeface="+mn-ea"/>
              <a:cs typeface="Segoe UI" panose="020B0502040204020203" pitchFamily="34" charset="0"/>
            </a:endParaRPr>
          </a:p>
        </p:txBody>
      </p:sp>
      <p:sp>
        <p:nvSpPr>
          <p:cNvPr id="207" name="Rectangle 206" descr="Azure Machine Learning ">
            <a:extLst>
              <a:ext uri="{FF2B5EF4-FFF2-40B4-BE49-F238E27FC236}">
                <a16:creationId xmlns:a16="http://schemas.microsoft.com/office/drawing/2014/main" id="{7B876E52-CF68-B46D-903F-DCBB60E2C53B}"/>
              </a:ext>
            </a:extLst>
          </p:cNvPr>
          <p:cNvSpPr/>
          <p:nvPr/>
        </p:nvSpPr>
        <p:spPr bwMode="auto">
          <a:xfrm>
            <a:off x="5194638" y="3456728"/>
            <a:ext cx="2903074" cy="293784"/>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6" name="TextBox 109">
            <a:extLst>
              <a:ext uri="{FF2B5EF4-FFF2-40B4-BE49-F238E27FC236}">
                <a16:creationId xmlns:a16="http://schemas.microsoft.com/office/drawing/2014/main" id="{4B759B52-2A92-73D3-566B-DF9FF65EF0F1}"/>
              </a:ext>
            </a:extLst>
          </p:cNvPr>
          <p:cNvSpPr txBox="1"/>
          <p:nvPr/>
        </p:nvSpPr>
        <p:spPr>
          <a:xfrm>
            <a:off x="4321204" y="3429000"/>
            <a:ext cx="4649942" cy="51264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Machine Learning</a:t>
            </a:r>
          </a:p>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Advanced tools for designing and fine-tuning specialized AI models</a:t>
            </a:r>
          </a:p>
        </p:txBody>
      </p:sp>
      <p:cxnSp>
        <p:nvCxnSpPr>
          <p:cNvPr id="297" name="Straight Connector 296">
            <a:extLst>
              <a:ext uri="{FF2B5EF4-FFF2-40B4-BE49-F238E27FC236}">
                <a16:creationId xmlns:a16="http://schemas.microsoft.com/office/drawing/2014/main" id="{E8E03A47-DB5C-A9DD-9F8C-F457DA165075}"/>
              </a:ext>
              <a:ext uri="{C183D7F6-B498-43B3-948B-1728B52AA6E4}">
                <adec:decorative xmlns:adec="http://schemas.microsoft.com/office/drawing/2017/decorative" val="1"/>
              </a:ext>
            </a:extLst>
          </p:cNvPr>
          <p:cNvCxnSpPr>
            <a:cxnSpLocks/>
          </p:cNvCxnSpPr>
          <p:nvPr/>
        </p:nvCxnSpPr>
        <p:spPr>
          <a:xfrm>
            <a:off x="8820023" y="4291433"/>
            <a:ext cx="142147" cy="0"/>
          </a:xfrm>
          <a:prstGeom prst="line">
            <a:avLst/>
          </a:prstGeom>
          <a:gradFill>
            <a:gsLst>
              <a:gs pos="0">
                <a:srgbClr val="F5F1FA">
                  <a:lumMod val="97099"/>
                  <a:alpha val="69897"/>
                </a:srgbClr>
              </a:gs>
              <a:gs pos="100000">
                <a:srgbClr val="EDF6FB">
                  <a:lumMod val="92371"/>
                </a:srgbClr>
              </a:gs>
            </a:gsLst>
            <a:lin ang="1380000" scaled="0"/>
          </a:gradFill>
          <a:ln>
            <a:solidFill>
              <a:srgbClr val="0078D3">
                <a:alpha val="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Rectangle: Rounded Corners 299">
            <a:extLst>
              <a:ext uri="{FF2B5EF4-FFF2-40B4-BE49-F238E27FC236}">
                <a16:creationId xmlns:a16="http://schemas.microsoft.com/office/drawing/2014/main" id="{823F2C89-405D-3F28-139B-0F8A4BF91704}"/>
              </a:ext>
              <a:ext uri="{C183D7F6-B498-43B3-948B-1728B52AA6E4}">
                <adec:decorative xmlns:adec="http://schemas.microsoft.com/office/drawing/2017/decorative" val="1"/>
              </a:ext>
            </a:extLst>
          </p:cNvPr>
          <p:cNvSpPr/>
          <p:nvPr/>
        </p:nvSpPr>
        <p:spPr bwMode="auto">
          <a:xfrm flipV="1">
            <a:off x="4624910" y="4171201"/>
            <a:ext cx="365103" cy="270118"/>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A41CC425-4317-B6F9-D3A0-3817739BAB35}"/>
              </a:ext>
              <a:ext uri="{C183D7F6-B498-43B3-948B-1728B52AA6E4}">
                <adec:decorative xmlns:adec="http://schemas.microsoft.com/office/drawing/2017/decorative" val="1"/>
              </a:ext>
            </a:extLst>
          </p:cNvPr>
          <p:cNvSpPr/>
          <p:nvPr/>
        </p:nvSpPr>
        <p:spPr bwMode="auto">
          <a:xfrm>
            <a:off x="2013293" y="1326377"/>
            <a:ext cx="9399876" cy="1982836"/>
          </a:xfrm>
          <a:prstGeom prst="roundRect">
            <a:avLst>
              <a:gd name="adj" fmla="val 13216"/>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1" name="Rectangle 210" descr="Azure AI Services ">
            <a:extLst>
              <a:ext uri="{FF2B5EF4-FFF2-40B4-BE49-F238E27FC236}">
                <a16:creationId xmlns:a16="http://schemas.microsoft.com/office/drawing/2014/main" id="{36A33D00-D75F-4B48-0CE4-B44394ECD582}"/>
              </a:ext>
            </a:extLst>
          </p:cNvPr>
          <p:cNvSpPr/>
          <p:nvPr/>
        </p:nvSpPr>
        <p:spPr bwMode="auto">
          <a:xfrm>
            <a:off x="5586744" y="1194711"/>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0" name="Rectangle: Rounded Corners 139">
            <a:extLst>
              <a:ext uri="{FF2B5EF4-FFF2-40B4-BE49-F238E27FC236}">
                <a16:creationId xmlns:a16="http://schemas.microsoft.com/office/drawing/2014/main" id="{BEBEAD56-C34D-CCA9-F660-5B2EA5F29ED6}"/>
              </a:ext>
              <a:ext uri="{C183D7F6-B498-43B3-948B-1728B52AA6E4}">
                <adec:decorative xmlns:adec="http://schemas.microsoft.com/office/drawing/2017/decorative" val="1"/>
              </a:ext>
            </a:extLst>
          </p:cNvPr>
          <p:cNvSpPr/>
          <p:nvPr/>
        </p:nvSpPr>
        <p:spPr bwMode="auto">
          <a:xfrm flipV="1">
            <a:off x="9493760" y="2063262"/>
            <a:ext cx="365103" cy="295357"/>
          </a:xfrm>
          <a:prstGeom prst="roundRect">
            <a:avLst>
              <a:gd name="adj" fmla="val 13058"/>
            </a:avLst>
          </a:prstGeom>
          <a:gradFill>
            <a:gsLst>
              <a:gs pos="35000">
                <a:srgbClr val="DFE8F4"/>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28" name="Group 27">
            <a:extLst>
              <a:ext uri="{FF2B5EF4-FFF2-40B4-BE49-F238E27FC236}">
                <a16:creationId xmlns:a16="http://schemas.microsoft.com/office/drawing/2014/main" id="{60103DAF-A481-FC9C-F612-256F368DBF96}"/>
              </a:ext>
              <a:ext uri="{C183D7F6-B498-43B3-948B-1728B52AA6E4}">
                <adec:decorative xmlns:adec="http://schemas.microsoft.com/office/drawing/2017/decorative" val="1"/>
              </a:ext>
            </a:extLst>
          </p:cNvPr>
          <p:cNvGrpSpPr/>
          <p:nvPr/>
        </p:nvGrpSpPr>
        <p:grpSpPr>
          <a:xfrm>
            <a:off x="2279031" y="2621120"/>
            <a:ext cx="1829815" cy="567924"/>
            <a:chOff x="2670024" y="2099842"/>
            <a:chExt cx="1829815" cy="567924"/>
          </a:xfrm>
        </p:grpSpPr>
        <p:grpSp>
          <p:nvGrpSpPr>
            <p:cNvPr id="203" name="Group 202">
              <a:extLst>
                <a:ext uri="{FF2B5EF4-FFF2-40B4-BE49-F238E27FC236}">
                  <a16:creationId xmlns:a16="http://schemas.microsoft.com/office/drawing/2014/main" id="{BB518B93-4AEE-554C-F82E-8045B92CAE37}"/>
                </a:ext>
              </a:extLst>
            </p:cNvPr>
            <p:cNvGrpSpPr/>
            <p:nvPr/>
          </p:nvGrpSpPr>
          <p:grpSpPr>
            <a:xfrm>
              <a:off x="2670024" y="2099842"/>
              <a:ext cx="1829815" cy="567924"/>
              <a:chOff x="1676212" y="1888891"/>
              <a:chExt cx="1829815" cy="567924"/>
            </a:xfrm>
          </p:grpSpPr>
          <p:grpSp>
            <p:nvGrpSpPr>
              <p:cNvPr id="196" name="Group 195">
                <a:extLst>
                  <a:ext uri="{FF2B5EF4-FFF2-40B4-BE49-F238E27FC236}">
                    <a16:creationId xmlns:a16="http://schemas.microsoft.com/office/drawing/2014/main" id="{7DF1FA33-A164-EA4F-E672-4B0B8CCEE86A}"/>
                  </a:ext>
                </a:extLst>
              </p:cNvPr>
              <p:cNvGrpSpPr/>
              <p:nvPr/>
            </p:nvGrpSpPr>
            <p:grpSpPr>
              <a:xfrm>
                <a:off x="1676212" y="1888891"/>
                <a:ext cx="1829815" cy="493488"/>
                <a:chOff x="1676212" y="1888891"/>
                <a:chExt cx="1829815" cy="493488"/>
              </a:xfrm>
            </p:grpSpPr>
            <p:sp>
              <p:nvSpPr>
                <p:cNvPr id="201" name="Rounded Rectangle 1">
                  <a:extLst>
                    <a:ext uri="{FF2B5EF4-FFF2-40B4-BE49-F238E27FC236}">
                      <a16:creationId xmlns:a16="http://schemas.microsoft.com/office/drawing/2014/main" id="{6A64F129-00EC-4FF9-738D-3714E1B9083A}"/>
                    </a:ext>
                  </a:extLst>
                </p:cNvPr>
                <p:cNvSpPr/>
                <p:nvPr/>
              </p:nvSpPr>
              <p:spPr bwMode="auto">
                <a:xfrm flipV="1">
                  <a:off x="1835064" y="1888891"/>
                  <a:ext cx="1670963" cy="493488"/>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02" name="Rectangle: Rounded Corners 201">
                  <a:extLst>
                    <a:ext uri="{FF2B5EF4-FFF2-40B4-BE49-F238E27FC236}">
                      <a16:creationId xmlns:a16="http://schemas.microsoft.com/office/drawing/2014/main" id="{875F2195-F7A3-2E0F-B312-E0FE5FC2C455}"/>
                    </a:ext>
                  </a:extLst>
                </p:cNvPr>
                <p:cNvSpPr/>
                <p:nvPr/>
              </p:nvSpPr>
              <p:spPr bwMode="auto">
                <a:xfrm flipV="1">
                  <a:off x="1676212" y="1990653"/>
                  <a:ext cx="378235" cy="281670"/>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sp>
            <p:nvSpPr>
              <p:cNvPr id="200" name="TextBox 79">
                <a:extLst>
                  <a:ext uri="{FF2B5EF4-FFF2-40B4-BE49-F238E27FC236}">
                    <a16:creationId xmlns:a16="http://schemas.microsoft.com/office/drawing/2014/main" id="{38348A09-0728-8F5A-0FC2-C6EA37C536D5}"/>
                  </a:ext>
                </a:extLst>
              </p:cNvPr>
              <p:cNvSpPr txBox="1"/>
              <p:nvPr/>
            </p:nvSpPr>
            <p:spPr>
              <a:xfrm>
                <a:off x="2008044" y="1964372"/>
                <a:ext cx="1354794"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onten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Segoe UI"/>
                </a:endParaRPr>
              </a:p>
            </p:txBody>
          </p:sp>
        </p:grpSp>
        <p:grpSp>
          <p:nvGrpSpPr>
            <p:cNvPr id="236" name="Group 235">
              <a:extLst>
                <a:ext uri="{FF2B5EF4-FFF2-40B4-BE49-F238E27FC236}">
                  <a16:creationId xmlns:a16="http://schemas.microsoft.com/office/drawing/2014/main" id="{8D9D6887-1BC4-1B3E-7168-6D8A1917F4ED}"/>
                </a:ext>
              </a:extLst>
            </p:cNvPr>
            <p:cNvGrpSpPr/>
            <p:nvPr/>
          </p:nvGrpSpPr>
          <p:grpSpPr>
            <a:xfrm>
              <a:off x="2716755" y="2202146"/>
              <a:ext cx="206155" cy="258420"/>
              <a:chOff x="1722943" y="1991195"/>
              <a:chExt cx="266703" cy="334318"/>
            </a:xfrm>
          </p:grpSpPr>
          <p:sp>
            <p:nvSpPr>
              <p:cNvPr id="214" name="Freeform 128">
                <a:extLst>
                  <a:ext uri="{FF2B5EF4-FFF2-40B4-BE49-F238E27FC236}">
                    <a16:creationId xmlns:a16="http://schemas.microsoft.com/office/drawing/2014/main" id="{C81ACB03-DDFF-DC24-E75F-A32FADC44D0B}"/>
                  </a:ext>
                </a:extLst>
              </p:cNvPr>
              <p:cNvSpPr>
                <a:spLocks/>
              </p:cNvSpPr>
              <p:nvPr/>
            </p:nvSpPr>
            <p:spPr bwMode="auto">
              <a:xfrm>
                <a:off x="1722943" y="1991195"/>
                <a:ext cx="266703" cy="33431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2375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215" name="Straight Connector 214">
                <a:extLst>
                  <a:ext uri="{FF2B5EF4-FFF2-40B4-BE49-F238E27FC236}">
                    <a16:creationId xmlns:a16="http://schemas.microsoft.com/office/drawing/2014/main" id="{B8B5CC4F-781D-E892-AE77-63B31BD87EF2}"/>
                  </a:ext>
                </a:extLst>
              </p:cNvPr>
              <p:cNvCxnSpPr>
                <a:cxnSpLocks/>
              </p:cNvCxnSpPr>
              <p:nvPr/>
            </p:nvCxnSpPr>
            <p:spPr>
              <a:xfrm>
                <a:off x="1799595" y="2165986"/>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81613C9-EAC8-8D79-24EB-1D52F6BC6828}"/>
                  </a:ext>
                </a:extLst>
              </p:cNvPr>
              <p:cNvCxnSpPr>
                <a:cxnSpLocks/>
              </p:cNvCxnSpPr>
              <p:nvPr/>
            </p:nvCxnSpPr>
            <p:spPr>
              <a:xfrm flipV="1">
                <a:off x="1851793" y="2130973"/>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F4E071B5-F50A-A15F-BE0E-C01F716E7409}"/>
              </a:ext>
              <a:ext uri="{C183D7F6-B498-43B3-948B-1728B52AA6E4}">
                <adec:decorative xmlns:adec="http://schemas.microsoft.com/office/drawing/2017/decorative" val="1"/>
              </a:ext>
            </a:extLst>
          </p:cNvPr>
          <p:cNvGrpSpPr/>
          <p:nvPr/>
        </p:nvGrpSpPr>
        <p:grpSpPr>
          <a:xfrm>
            <a:off x="2320358" y="1906868"/>
            <a:ext cx="1776928" cy="579402"/>
            <a:chOff x="2922910" y="1115387"/>
            <a:chExt cx="1776928" cy="579402"/>
          </a:xfrm>
        </p:grpSpPr>
        <p:grpSp>
          <p:nvGrpSpPr>
            <p:cNvPr id="124" name="Group 123">
              <a:extLst>
                <a:ext uri="{FF2B5EF4-FFF2-40B4-BE49-F238E27FC236}">
                  <a16:creationId xmlns:a16="http://schemas.microsoft.com/office/drawing/2014/main" id="{6382FEE6-3291-23DB-CA29-3315301B1CBA}"/>
                </a:ext>
              </a:extLst>
            </p:cNvPr>
            <p:cNvGrpSpPr/>
            <p:nvPr/>
          </p:nvGrpSpPr>
          <p:grpSpPr>
            <a:xfrm>
              <a:off x="2922910" y="1115387"/>
              <a:ext cx="1776928" cy="579402"/>
              <a:chOff x="3358392" y="1883637"/>
              <a:chExt cx="1776928" cy="579402"/>
            </a:xfrm>
          </p:grpSpPr>
          <p:sp>
            <p:nvSpPr>
              <p:cNvPr id="121" name="Rounded Rectangle 1">
                <a:extLst>
                  <a:ext uri="{FF2B5EF4-FFF2-40B4-BE49-F238E27FC236}">
                    <a16:creationId xmlns:a16="http://schemas.microsoft.com/office/drawing/2014/main" id="{9D6468CE-FA2B-1E87-AB64-3AFA25DEB117}"/>
                  </a:ext>
                </a:extLst>
              </p:cNvPr>
              <p:cNvSpPr/>
              <p:nvPr/>
            </p:nvSpPr>
            <p:spPr bwMode="auto">
              <a:xfrm flipV="1">
                <a:off x="3473050" y="1883637"/>
                <a:ext cx="1662270" cy="494802"/>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2" name="Rectangle: Rounded Corners 121">
                <a:extLst>
                  <a:ext uri="{FF2B5EF4-FFF2-40B4-BE49-F238E27FC236}">
                    <a16:creationId xmlns:a16="http://schemas.microsoft.com/office/drawing/2014/main" id="{78B14AF1-A928-18DC-8AD6-27E3FEDC08A1}"/>
                  </a:ext>
                </a:extLst>
              </p:cNvPr>
              <p:cNvSpPr/>
              <p:nvPr/>
            </p:nvSpPr>
            <p:spPr bwMode="auto">
              <a:xfrm flipV="1">
                <a:off x="3358392" y="1997910"/>
                <a:ext cx="309431" cy="294898"/>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23" name="TextBox 42">
                <a:extLst>
                  <a:ext uri="{FF2B5EF4-FFF2-40B4-BE49-F238E27FC236}">
                    <a16:creationId xmlns:a16="http://schemas.microsoft.com/office/drawing/2014/main" id="{35DB07BC-22E9-42DB-8773-8CDA39C54F94}"/>
                  </a:ext>
                </a:extLst>
              </p:cNvPr>
              <p:cNvSpPr txBox="1"/>
              <p:nvPr/>
            </p:nvSpPr>
            <p:spPr>
              <a:xfrm>
                <a:off x="3648463" y="1970596"/>
                <a:ext cx="1325151"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Open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257" name="Group 256">
              <a:extLst>
                <a:ext uri="{FF2B5EF4-FFF2-40B4-BE49-F238E27FC236}">
                  <a16:creationId xmlns:a16="http://schemas.microsoft.com/office/drawing/2014/main" id="{5795E5C3-78C1-ABEE-05E0-F7AC2D3EB0D1}"/>
                </a:ext>
              </a:extLst>
            </p:cNvPr>
            <p:cNvGrpSpPr/>
            <p:nvPr/>
          </p:nvGrpSpPr>
          <p:grpSpPr>
            <a:xfrm>
              <a:off x="2942954" y="1260084"/>
              <a:ext cx="253251" cy="242957"/>
              <a:chOff x="3378440" y="2028334"/>
              <a:chExt cx="338023" cy="324282"/>
            </a:xfrm>
          </p:grpSpPr>
          <p:sp>
            <p:nvSpPr>
              <p:cNvPr id="251" name="Oval 250">
                <a:extLst>
                  <a:ext uri="{FF2B5EF4-FFF2-40B4-BE49-F238E27FC236}">
                    <a16:creationId xmlns:a16="http://schemas.microsoft.com/office/drawing/2014/main" id="{193E0465-F1F9-80B5-91E8-43D96E74A927}"/>
                  </a:ext>
                </a:extLst>
              </p:cNvPr>
              <p:cNvSpPr/>
              <p:nvPr/>
            </p:nvSpPr>
            <p:spPr bwMode="auto">
              <a:xfrm>
                <a:off x="3408000" y="2065002"/>
                <a:ext cx="287614" cy="287614"/>
              </a:xfrm>
              <a:prstGeom prst="ellipse">
                <a:avLst/>
              </a:prstGeom>
              <a:solidFill>
                <a:srgbClr val="2375B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4" name="Oval 253">
                <a:extLst>
                  <a:ext uri="{FF2B5EF4-FFF2-40B4-BE49-F238E27FC236}">
                    <a16:creationId xmlns:a16="http://schemas.microsoft.com/office/drawing/2014/main" id="{3F0BAACB-53CB-3CE8-CF77-659EA9E2B840}"/>
                  </a:ext>
                </a:extLst>
              </p:cNvPr>
              <p:cNvSpPr/>
              <p:nvPr/>
            </p:nvSpPr>
            <p:spPr bwMode="auto">
              <a:xfrm>
                <a:off x="3496924" y="2028334"/>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5" name="Oval 254">
                <a:extLst>
                  <a:ext uri="{FF2B5EF4-FFF2-40B4-BE49-F238E27FC236}">
                    <a16:creationId xmlns:a16="http://schemas.microsoft.com/office/drawing/2014/main" id="{9E4A54E3-F7D1-1961-6D9C-CEFC6049C880}"/>
                  </a:ext>
                </a:extLst>
              </p:cNvPr>
              <p:cNvSpPr/>
              <p:nvPr/>
            </p:nvSpPr>
            <p:spPr bwMode="auto">
              <a:xfrm>
                <a:off x="3606697" y="2209997"/>
                <a:ext cx="109766" cy="109766"/>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6" name="Oval 255">
                <a:extLst>
                  <a:ext uri="{FF2B5EF4-FFF2-40B4-BE49-F238E27FC236}">
                    <a16:creationId xmlns:a16="http://schemas.microsoft.com/office/drawing/2014/main" id="{2A58BD9A-9F8E-DF18-834D-356898EA5D1E}"/>
                  </a:ext>
                </a:extLst>
              </p:cNvPr>
              <p:cNvSpPr/>
              <p:nvPr/>
            </p:nvSpPr>
            <p:spPr bwMode="auto">
              <a:xfrm>
                <a:off x="3378440" y="2209821"/>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182" name="Rectangle 181">
            <a:extLst>
              <a:ext uri="{FF2B5EF4-FFF2-40B4-BE49-F238E27FC236}">
                <a16:creationId xmlns:a16="http://schemas.microsoft.com/office/drawing/2014/main" id="{560CC61E-271B-DAAF-D9C0-9B1F70E70B06}"/>
              </a:ext>
              <a:ext uri="{C183D7F6-B498-43B3-948B-1728B52AA6E4}">
                <adec:decorative xmlns:adec="http://schemas.microsoft.com/office/drawing/2017/decorative" val="1"/>
              </a:ext>
            </a:extLst>
          </p:cNvPr>
          <p:cNvSpPr/>
          <p:nvPr/>
        </p:nvSpPr>
        <p:spPr bwMode="auto">
          <a:xfrm>
            <a:off x="7935744" y="2200964"/>
            <a:ext cx="120577" cy="40200"/>
          </a:xfrm>
          <a:prstGeom prst="rect">
            <a:avLst/>
          </a:prstGeom>
          <a:solidFill>
            <a:srgbClr val="F1ED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74" name="TextBox 108">
            <a:extLst>
              <a:ext uri="{FF2B5EF4-FFF2-40B4-BE49-F238E27FC236}">
                <a16:creationId xmlns:a16="http://schemas.microsoft.com/office/drawing/2014/main" id="{AF62C84A-290C-1B24-3C4F-049DF0C69193}"/>
              </a:ext>
            </a:extLst>
          </p:cNvPr>
          <p:cNvSpPr txBox="1"/>
          <p:nvPr/>
        </p:nvSpPr>
        <p:spPr>
          <a:xfrm>
            <a:off x="3855273" y="1170891"/>
            <a:ext cx="5581803"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Pre-built models, APIs and SDKs to infuse into custom apps</a:t>
            </a:r>
          </a:p>
        </p:txBody>
      </p:sp>
      <p:sp>
        <p:nvSpPr>
          <p:cNvPr id="159" name="Rectangle: Rounded Corners 158">
            <a:extLst>
              <a:ext uri="{FF2B5EF4-FFF2-40B4-BE49-F238E27FC236}">
                <a16:creationId xmlns:a16="http://schemas.microsoft.com/office/drawing/2014/main" id="{1DDC9266-AED0-9499-5C1F-66DF1E83B900}"/>
              </a:ext>
              <a:ext uri="{C183D7F6-B498-43B3-948B-1728B52AA6E4}">
                <adec:decorative xmlns:adec="http://schemas.microsoft.com/office/drawing/2017/decorative" val="1"/>
              </a:ext>
            </a:extLst>
          </p:cNvPr>
          <p:cNvSpPr/>
          <p:nvPr/>
        </p:nvSpPr>
        <p:spPr bwMode="auto">
          <a:xfrm>
            <a:off x="994438" y="1401193"/>
            <a:ext cx="589754" cy="4478927"/>
          </a:xfrm>
          <a:prstGeom prst="roundRect">
            <a:avLst>
              <a:gd name="adj" fmla="val 21960"/>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highlight>
                <a:srgbClr val="FFFF00"/>
              </a:highlight>
              <a:uLnTx/>
              <a:uFillTx/>
              <a:latin typeface="Segoe UI"/>
              <a:ea typeface="+mn-ea"/>
              <a:cs typeface="Segoe UI" pitchFamily="34" charset="0"/>
            </a:endParaRPr>
          </a:p>
        </p:txBody>
      </p:sp>
      <p:grpSp>
        <p:nvGrpSpPr>
          <p:cNvPr id="43" name="Group 42">
            <a:extLst>
              <a:ext uri="{FF2B5EF4-FFF2-40B4-BE49-F238E27FC236}">
                <a16:creationId xmlns:a16="http://schemas.microsoft.com/office/drawing/2014/main" id="{34C858B1-030F-6CE7-232D-9EBE0D20FED9}"/>
              </a:ext>
              <a:ext uri="{C183D7F6-B498-43B3-948B-1728B52AA6E4}">
                <adec:decorative xmlns:adec="http://schemas.microsoft.com/office/drawing/2017/decorative" val="1"/>
              </a:ext>
            </a:extLst>
          </p:cNvPr>
          <p:cNvGrpSpPr/>
          <p:nvPr/>
        </p:nvGrpSpPr>
        <p:grpSpPr>
          <a:xfrm>
            <a:off x="2277830" y="5099928"/>
            <a:ext cx="9042891" cy="949093"/>
            <a:chOff x="2277830" y="5099928"/>
            <a:chExt cx="9042891" cy="949093"/>
          </a:xfrm>
        </p:grpSpPr>
        <p:sp>
          <p:nvSpPr>
            <p:cNvPr id="18" name="TextBox 6">
              <a:extLst>
                <a:ext uri="{FF2B5EF4-FFF2-40B4-BE49-F238E27FC236}">
                  <a16:creationId xmlns:a16="http://schemas.microsoft.com/office/drawing/2014/main" id="{E9C9565B-662F-F836-CAC6-11F1CB174AB6}"/>
                </a:ext>
              </a:extLst>
            </p:cNvPr>
            <p:cNvSpPr txBox="1"/>
            <p:nvPr/>
          </p:nvSpPr>
          <p:spPr>
            <a:xfrm>
              <a:off x="2312642" y="5212256"/>
              <a:ext cx="165684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Florence </a:t>
              </a:r>
            </a:p>
          </p:txBody>
        </p:sp>
        <p:sp>
          <p:nvSpPr>
            <p:cNvPr id="26" name="Rectangle: Rounded Corners 25">
              <a:extLst>
                <a:ext uri="{FF2B5EF4-FFF2-40B4-BE49-F238E27FC236}">
                  <a16:creationId xmlns:a16="http://schemas.microsoft.com/office/drawing/2014/main" id="{31E18D38-C71F-D658-642D-A931E594057A}"/>
                </a:ext>
                <a:ext uri="{C183D7F6-B498-43B3-948B-1728B52AA6E4}">
                  <adec:decorative xmlns:adec="http://schemas.microsoft.com/office/drawing/2017/decorative" val="1"/>
                </a:ext>
              </a:extLst>
            </p:cNvPr>
            <p:cNvSpPr/>
            <p:nvPr/>
          </p:nvSpPr>
          <p:spPr bwMode="auto">
            <a:xfrm>
              <a:off x="2277830" y="5104477"/>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TextBox 8">
              <a:extLst>
                <a:ext uri="{FF2B5EF4-FFF2-40B4-BE49-F238E27FC236}">
                  <a16:creationId xmlns:a16="http://schemas.microsoft.com/office/drawing/2014/main" id="{32C5EF4D-9EB9-87B4-151C-368E5E1F8028}"/>
                </a:ext>
              </a:extLst>
            </p:cNvPr>
            <p:cNvSpPr txBox="1"/>
            <p:nvPr/>
          </p:nvSpPr>
          <p:spPr>
            <a:xfrm>
              <a:off x="2332253" y="5771480"/>
              <a:ext cx="157991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Turing</a:t>
              </a:r>
            </a:p>
          </p:txBody>
        </p:sp>
        <p:sp>
          <p:nvSpPr>
            <p:cNvPr id="49" name="Rectangle: Rounded Corners 48">
              <a:extLst>
                <a:ext uri="{FF2B5EF4-FFF2-40B4-BE49-F238E27FC236}">
                  <a16:creationId xmlns:a16="http://schemas.microsoft.com/office/drawing/2014/main" id="{02D9C05B-1FDB-DA53-ACAA-341E87BDF3F8}"/>
                </a:ext>
                <a:ext uri="{C183D7F6-B498-43B3-948B-1728B52AA6E4}">
                  <adec:decorative xmlns:adec="http://schemas.microsoft.com/office/drawing/2017/decorative" val="1"/>
                </a:ext>
              </a:extLst>
            </p:cNvPr>
            <p:cNvSpPr/>
            <p:nvPr/>
          </p:nvSpPr>
          <p:spPr bwMode="auto">
            <a:xfrm>
              <a:off x="2277830" y="565906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4E12F4DF-6D75-9737-FA13-49938A06449B}"/>
                </a:ext>
                <a:ext uri="{C183D7F6-B498-43B3-948B-1728B52AA6E4}">
                  <adec:decorative xmlns:adec="http://schemas.microsoft.com/office/drawing/2017/decorative" val="1"/>
                </a:ext>
              </a:extLst>
            </p:cNvPr>
            <p:cNvSpPr/>
            <p:nvPr/>
          </p:nvSpPr>
          <p:spPr bwMode="auto">
            <a:xfrm>
              <a:off x="4732537" y="510764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3" name="TextBox 11">
              <a:extLst>
                <a:ext uri="{FF2B5EF4-FFF2-40B4-BE49-F238E27FC236}">
                  <a16:creationId xmlns:a16="http://schemas.microsoft.com/office/drawing/2014/main" id="{BD533C22-C755-8226-427F-37637BE4269B}"/>
                </a:ext>
              </a:extLst>
            </p:cNvPr>
            <p:cNvSpPr txBox="1"/>
            <p:nvPr/>
          </p:nvSpPr>
          <p:spPr>
            <a:xfrm>
              <a:off x="4646290" y="5140462"/>
              <a:ext cx="1884884"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GP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and GPT-3.5-Turbo</a:t>
              </a:r>
            </a:p>
          </p:txBody>
        </p:sp>
        <p:sp>
          <p:nvSpPr>
            <p:cNvPr id="56" name="TextBox 12">
              <a:extLst>
                <a:ext uri="{FF2B5EF4-FFF2-40B4-BE49-F238E27FC236}">
                  <a16:creationId xmlns:a16="http://schemas.microsoft.com/office/drawing/2014/main" id="{D46BF7D0-2F7E-737F-C06F-EF61503B4EB3}"/>
                </a:ext>
              </a:extLst>
            </p:cNvPr>
            <p:cNvSpPr txBox="1"/>
            <p:nvPr/>
          </p:nvSpPr>
          <p:spPr>
            <a:xfrm>
              <a:off x="4812138" y="5777179"/>
              <a:ext cx="1628814"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Whisper</a:t>
              </a:r>
            </a:p>
          </p:txBody>
        </p:sp>
        <p:sp>
          <p:nvSpPr>
            <p:cNvPr id="64" name="Rectangle: Rounded Corners 63">
              <a:extLst>
                <a:ext uri="{FF2B5EF4-FFF2-40B4-BE49-F238E27FC236}">
                  <a16:creationId xmlns:a16="http://schemas.microsoft.com/office/drawing/2014/main" id="{28EE14E1-368E-37B6-C356-3E812BA30B15}"/>
                </a:ext>
                <a:ext uri="{C183D7F6-B498-43B3-948B-1728B52AA6E4}">
                  <adec:decorative xmlns:adec="http://schemas.microsoft.com/office/drawing/2017/decorative" val="1"/>
                </a:ext>
              </a:extLst>
            </p:cNvPr>
            <p:cNvSpPr/>
            <p:nvPr/>
          </p:nvSpPr>
          <p:spPr bwMode="auto">
            <a:xfrm>
              <a:off x="4732537" y="566460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1" name="TextBox 14">
              <a:extLst>
                <a:ext uri="{FF2B5EF4-FFF2-40B4-BE49-F238E27FC236}">
                  <a16:creationId xmlns:a16="http://schemas.microsoft.com/office/drawing/2014/main" id="{9C8BB911-0368-D285-BDD8-822D5FF2A90A}"/>
                </a:ext>
              </a:extLst>
            </p:cNvPr>
            <p:cNvSpPr txBox="1"/>
            <p:nvPr/>
          </p:nvSpPr>
          <p:spPr>
            <a:xfrm>
              <a:off x="7177727" y="5219104"/>
              <a:ext cx="1465377"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Embeddings</a:t>
              </a:r>
            </a:p>
          </p:txBody>
        </p:sp>
        <p:sp>
          <p:nvSpPr>
            <p:cNvPr id="76" name="Rectangle: Rounded Corners 75">
              <a:extLst>
                <a:ext uri="{FF2B5EF4-FFF2-40B4-BE49-F238E27FC236}">
                  <a16:creationId xmlns:a16="http://schemas.microsoft.com/office/drawing/2014/main" id="{86806092-5BF3-8375-8582-45300988BE09}"/>
                </a:ext>
                <a:ext uri="{C183D7F6-B498-43B3-948B-1728B52AA6E4}">
                  <adec:decorative xmlns:adec="http://schemas.microsoft.com/office/drawing/2017/decorative" val="1"/>
                </a:ext>
              </a:extLst>
            </p:cNvPr>
            <p:cNvSpPr/>
            <p:nvPr/>
          </p:nvSpPr>
          <p:spPr bwMode="auto">
            <a:xfrm>
              <a:off x="7033870" y="510447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D9E2F1A-02FB-15D9-2432-632276931C22}"/>
                </a:ext>
                <a:ext uri="{C183D7F6-B498-43B3-948B-1728B52AA6E4}">
                  <adec:decorative xmlns:adec="http://schemas.microsoft.com/office/drawing/2017/decorative" val="1"/>
                </a:ext>
              </a:extLst>
            </p:cNvPr>
            <p:cNvSpPr/>
            <p:nvPr/>
          </p:nvSpPr>
          <p:spPr bwMode="auto">
            <a:xfrm>
              <a:off x="7033870" y="5664607"/>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TextBox 17">
              <a:extLst>
                <a:ext uri="{FF2B5EF4-FFF2-40B4-BE49-F238E27FC236}">
                  <a16:creationId xmlns:a16="http://schemas.microsoft.com/office/drawing/2014/main" id="{3EFDB3A5-F445-31F7-2ECE-1A024A5184DD}"/>
                </a:ext>
              </a:extLst>
            </p:cNvPr>
            <p:cNvSpPr txBox="1"/>
            <p:nvPr/>
          </p:nvSpPr>
          <p:spPr>
            <a:xfrm>
              <a:off x="7033869" y="5779234"/>
              <a:ext cx="1709613"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DALL-E</a:t>
              </a:r>
            </a:p>
          </p:txBody>
        </p:sp>
        <p:sp>
          <p:nvSpPr>
            <p:cNvPr id="83" name="TextBox 18">
              <a:extLst>
                <a:ext uri="{FF2B5EF4-FFF2-40B4-BE49-F238E27FC236}">
                  <a16:creationId xmlns:a16="http://schemas.microsoft.com/office/drawing/2014/main" id="{E5F5332C-7177-507A-4F8C-A3A9DED67DAF}"/>
                </a:ext>
              </a:extLst>
            </p:cNvPr>
            <p:cNvSpPr txBox="1"/>
            <p:nvPr/>
          </p:nvSpPr>
          <p:spPr>
            <a:xfrm>
              <a:off x="9264812" y="5213493"/>
              <a:ext cx="176173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Meta Llama 2</a:t>
              </a:r>
            </a:p>
          </p:txBody>
        </p:sp>
        <p:sp>
          <p:nvSpPr>
            <p:cNvPr id="85" name="TextBox 19">
              <a:extLst>
                <a:ext uri="{FF2B5EF4-FFF2-40B4-BE49-F238E27FC236}">
                  <a16:creationId xmlns:a16="http://schemas.microsoft.com/office/drawing/2014/main" id="{895891A6-485D-7874-2DDB-E47425A6442F}"/>
                </a:ext>
              </a:extLst>
            </p:cNvPr>
            <p:cNvSpPr txBox="1"/>
            <p:nvPr/>
          </p:nvSpPr>
          <p:spPr>
            <a:xfrm>
              <a:off x="9045060" y="5768394"/>
              <a:ext cx="2275661"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Hugging Face</a:t>
              </a:r>
            </a:p>
          </p:txBody>
        </p:sp>
        <p:sp>
          <p:nvSpPr>
            <p:cNvPr id="2" name="Rectangle: Rounded Corners 1">
              <a:extLst>
                <a:ext uri="{FF2B5EF4-FFF2-40B4-BE49-F238E27FC236}">
                  <a16:creationId xmlns:a16="http://schemas.microsoft.com/office/drawing/2014/main" id="{608FDC75-09ED-BEDB-2D00-573DA8DB0E0B}"/>
                </a:ext>
                <a:ext uri="{C183D7F6-B498-43B3-948B-1728B52AA6E4}">
                  <adec:decorative xmlns:adec="http://schemas.microsoft.com/office/drawing/2017/decorative" val="1"/>
                </a:ext>
              </a:extLst>
            </p:cNvPr>
            <p:cNvSpPr/>
            <p:nvPr/>
          </p:nvSpPr>
          <p:spPr bwMode="auto">
            <a:xfrm>
              <a:off x="9291472" y="5099928"/>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C332F9F4-EF0F-97B7-B8DE-7D9D49B81335}"/>
                </a:ext>
                <a:ext uri="{C183D7F6-B498-43B3-948B-1728B52AA6E4}">
                  <adec:decorative xmlns:adec="http://schemas.microsoft.com/office/drawing/2017/decorative" val="1"/>
                </a:ext>
              </a:extLst>
            </p:cNvPr>
            <p:cNvSpPr/>
            <p:nvPr/>
          </p:nvSpPr>
          <p:spPr bwMode="auto">
            <a:xfrm>
              <a:off x="9291472" y="5660058"/>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Rectangle: Rounded Corners 94">
            <a:extLst>
              <a:ext uri="{FF2B5EF4-FFF2-40B4-BE49-F238E27FC236}">
                <a16:creationId xmlns:a16="http://schemas.microsoft.com/office/drawing/2014/main" id="{F6A7DA03-1234-FA87-6E93-22816EE57533}"/>
              </a:ext>
              <a:ext uri="{C183D7F6-B498-43B3-948B-1728B52AA6E4}">
                <adec:decorative xmlns:adec="http://schemas.microsoft.com/office/drawing/2017/decorative" val="1"/>
              </a:ext>
            </a:extLst>
          </p:cNvPr>
          <p:cNvSpPr/>
          <p:nvPr/>
        </p:nvSpPr>
        <p:spPr bwMode="auto">
          <a:xfrm flipV="1">
            <a:off x="4557069" y="2732108"/>
            <a:ext cx="365103" cy="3273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B335FCA-9A6A-E43C-DFF6-1FF28EB5FB85}"/>
              </a:ext>
              <a:ext uri="{C183D7F6-B498-43B3-948B-1728B52AA6E4}">
                <adec:decorative xmlns:adec="http://schemas.microsoft.com/office/drawing/2017/decorative" val="1"/>
              </a:ext>
            </a:extLst>
          </p:cNvPr>
          <p:cNvGrpSpPr/>
          <p:nvPr/>
        </p:nvGrpSpPr>
        <p:grpSpPr>
          <a:xfrm>
            <a:off x="9227115" y="2621120"/>
            <a:ext cx="1773712" cy="586612"/>
            <a:chOff x="4040430" y="2467497"/>
            <a:chExt cx="1773712" cy="586612"/>
          </a:xfrm>
        </p:grpSpPr>
        <p:sp>
          <p:nvSpPr>
            <p:cNvPr id="100" name="Rounded Rectangle 1">
              <a:extLst>
                <a:ext uri="{FF2B5EF4-FFF2-40B4-BE49-F238E27FC236}">
                  <a16:creationId xmlns:a16="http://schemas.microsoft.com/office/drawing/2014/main" id="{A641A7ED-C40B-A757-4CAB-5252E04AAD70}"/>
                </a:ext>
              </a:extLst>
            </p:cNvPr>
            <p:cNvSpPr/>
            <p:nvPr/>
          </p:nvSpPr>
          <p:spPr bwMode="auto">
            <a:xfrm flipV="1">
              <a:off x="4151874" y="2467497"/>
              <a:ext cx="1662268" cy="49175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24AE5F6E-FC4E-F94C-95EF-D1FBA7A62C13}"/>
                </a:ext>
              </a:extLst>
            </p:cNvPr>
            <p:cNvSpPr/>
            <p:nvPr/>
          </p:nvSpPr>
          <p:spPr bwMode="auto">
            <a:xfrm flipV="1">
              <a:off x="4102866" y="2584330"/>
              <a:ext cx="197142" cy="214106"/>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02" name="TextBox 28">
              <a:extLst>
                <a:ext uri="{FF2B5EF4-FFF2-40B4-BE49-F238E27FC236}">
                  <a16:creationId xmlns:a16="http://schemas.microsoft.com/office/drawing/2014/main" id="{4EA65681-35A8-5A12-B639-3D41EC802FE4}"/>
                </a:ext>
              </a:extLst>
            </p:cNvPr>
            <p:cNvSpPr txBox="1"/>
            <p:nvPr/>
          </p:nvSpPr>
          <p:spPr>
            <a:xfrm>
              <a:off x="4336004" y="2546278"/>
              <a:ext cx="1332978"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Trans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
                <a:ea typeface="+mn-ea"/>
                <a:cs typeface="Segoe UI"/>
              </a:endParaRPr>
            </a:p>
          </p:txBody>
        </p:sp>
        <p:sp>
          <p:nvSpPr>
            <p:cNvPr id="103" name="Characters_E8C1" title="Icon of the letter A and a letter in another language">
              <a:extLst>
                <a:ext uri="{FF2B5EF4-FFF2-40B4-BE49-F238E27FC236}">
                  <a16:creationId xmlns:a16="http://schemas.microsoft.com/office/drawing/2014/main" id="{6271579E-A5B2-2A87-A868-D10C60E9728E}"/>
                </a:ext>
              </a:extLst>
            </p:cNvPr>
            <p:cNvSpPr>
              <a:spLocks noChangeAspect="1" noEditPoints="1"/>
            </p:cNvSpPr>
            <p:nvPr/>
          </p:nvSpPr>
          <p:spPr bwMode="auto">
            <a:xfrm>
              <a:off x="4040430" y="2601329"/>
              <a:ext cx="233474" cy="240833"/>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0078D3"/>
            </a:solidFill>
            <a:ln w="9525" cap="flat">
              <a:solidFill>
                <a:srgbClr val="0078D3"/>
              </a:solidFill>
              <a:prstDash val="solid"/>
              <a:miter/>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FF5F0198-1251-DDB2-7F8C-D81D5F83A673}"/>
              </a:ext>
              <a:ext uri="{C183D7F6-B498-43B3-948B-1728B52AA6E4}">
                <adec:decorative xmlns:adec="http://schemas.microsoft.com/office/drawing/2017/decorative" val="1"/>
              </a:ext>
            </a:extLst>
          </p:cNvPr>
          <p:cNvGrpSpPr/>
          <p:nvPr/>
        </p:nvGrpSpPr>
        <p:grpSpPr>
          <a:xfrm>
            <a:off x="4697097" y="2621120"/>
            <a:ext cx="1741167" cy="592118"/>
            <a:chOff x="6461400" y="2543247"/>
            <a:chExt cx="1741167" cy="592118"/>
          </a:xfrm>
        </p:grpSpPr>
        <p:sp>
          <p:nvSpPr>
            <p:cNvPr id="115" name="Rounded Rectangle 1">
              <a:extLst>
                <a:ext uri="{FF2B5EF4-FFF2-40B4-BE49-F238E27FC236}">
                  <a16:creationId xmlns:a16="http://schemas.microsoft.com/office/drawing/2014/main" id="{8F390841-5FFA-D42F-6FC0-612994C2CEC4}"/>
                </a:ext>
              </a:extLst>
            </p:cNvPr>
            <p:cNvSpPr/>
            <p:nvPr/>
          </p:nvSpPr>
          <p:spPr bwMode="auto">
            <a:xfrm flipV="1">
              <a:off x="6531604" y="2543247"/>
              <a:ext cx="1670963"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 name="Page2_E7C3" title="Icon of a document">
              <a:extLst>
                <a:ext uri="{FF2B5EF4-FFF2-40B4-BE49-F238E27FC236}">
                  <a16:creationId xmlns:a16="http://schemas.microsoft.com/office/drawing/2014/main" id="{00731AE7-DA9A-061B-4CA1-77FCF1F33EAE}"/>
                </a:ext>
              </a:extLst>
            </p:cNvPr>
            <p:cNvSpPr>
              <a:spLocks noChangeAspect="1" noEditPoints="1"/>
            </p:cNvSpPr>
            <p:nvPr/>
          </p:nvSpPr>
          <p:spPr bwMode="auto">
            <a:xfrm>
              <a:off x="6461400" y="2696791"/>
              <a:ext cx="175659" cy="21949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solidFill>
              <a:srgbClr val="2375BB"/>
            </a:solidFill>
            <a:ln w="6350">
              <a:solidFill>
                <a:srgbClr val="2375BB"/>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8" name="TextBox 38">
              <a:extLst>
                <a:ext uri="{FF2B5EF4-FFF2-40B4-BE49-F238E27FC236}">
                  <a16:creationId xmlns:a16="http://schemas.microsoft.com/office/drawing/2014/main" id="{3997455D-2CD5-A4AC-6C1A-078BD8C509A0}"/>
                </a:ext>
              </a:extLst>
            </p:cNvPr>
            <p:cNvSpPr txBox="1"/>
            <p:nvPr/>
          </p:nvSpPr>
          <p:spPr>
            <a:xfrm>
              <a:off x="6751146" y="2642922"/>
              <a:ext cx="1331062"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192" name="Group 191">
            <a:extLst>
              <a:ext uri="{FF2B5EF4-FFF2-40B4-BE49-F238E27FC236}">
                <a16:creationId xmlns:a16="http://schemas.microsoft.com/office/drawing/2014/main" id="{ADF9B5A8-EDF2-9A2F-65C4-FC4059A023CE}"/>
              </a:ext>
              <a:ext uri="{C183D7F6-B498-43B3-948B-1728B52AA6E4}">
                <adec:decorative xmlns:adec="http://schemas.microsoft.com/office/drawing/2017/decorative" val="1"/>
              </a:ext>
            </a:extLst>
          </p:cNvPr>
          <p:cNvGrpSpPr/>
          <p:nvPr/>
        </p:nvGrpSpPr>
        <p:grpSpPr>
          <a:xfrm>
            <a:off x="9180036" y="1936773"/>
            <a:ext cx="1819853" cy="593636"/>
            <a:chOff x="7298318" y="2458530"/>
            <a:chExt cx="1819853" cy="593636"/>
          </a:xfrm>
        </p:grpSpPr>
        <p:grpSp>
          <p:nvGrpSpPr>
            <p:cNvPr id="185" name="Group 184">
              <a:extLst>
                <a:ext uri="{FF2B5EF4-FFF2-40B4-BE49-F238E27FC236}">
                  <a16:creationId xmlns:a16="http://schemas.microsoft.com/office/drawing/2014/main" id="{DC97CDBD-8ED6-CE46-59F0-D82B160B5BFB}"/>
                </a:ext>
              </a:extLst>
            </p:cNvPr>
            <p:cNvGrpSpPr/>
            <p:nvPr/>
          </p:nvGrpSpPr>
          <p:grpSpPr>
            <a:xfrm>
              <a:off x="7298318" y="2458530"/>
              <a:ext cx="1819853" cy="495819"/>
              <a:chOff x="7298318" y="2458530"/>
              <a:chExt cx="1819853" cy="495819"/>
            </a:xfrm>
          </p:grpSpPr>
          <p:sp>
            <p:nvSpPr>
              <p:cNvPr id="189" name="Rounded Rectangle 1">
                <a:extLst>
                  <a:ext uri="{FF2B5EF4-FFF2-40B4-BE49-F238E27FC236}">
                    <a16:creationId xmlns:a16="http://schemas.microsoft.com/office/drawing/2014/main" id="{9BB116BA-1FA5-E948-41E1-231E5FE96115}"/>
                  </a:ext>
                </a:extLst>
              </p:cNvPr>
              <p:cNvSpPr/>
              <p:nvPr/>
            </p:nvSpPr>
            <p:spPr bwMode="auto">
              <a:xfrm flipV="1">
                <a:off x="7455903" y="2458530"/>
                <a:ext cx="1662268" cy="4958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90" name="Rectangle: Rounded Corners 189">
                <a:extLst>
                  <a:ext uri="{FF2B5EF4-FFF2-40B4-BE49-F238E27FC236}">
                    <a16:creationId xmlns:a16="http://schemas.microsoft.com/office/drawing/2014/main" id="{AC17B3A6-EF3D-ED14-E025-30B79C4E1595}"/>
                  </a:ext>
                </a:extLst>
              </p:cNvPr>
              <p:cNvSpPr/>
              <p:nvPr/>
            </p:nvSpPr>
            <p:spPr bwMode="auto">
              <a:xfrm flipV="1">
                <a:off x="7298318" y="2604162"/>
                <a:ext cx="406443" cy="21410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91" name="Eye" title="Icon of an eye">
                <a:extLst>
                  <a:ext uri="{FF2B5EF4-FFF2-40B4-BE49-F238E27FC236}">
                    <a16:creationId xmlns:a16="http://schemas.microsoft.com/office/drawing/2014/main" id="{09B0135A-216E-0BBA-4731-C115F4A7BA96}"/>
                  </a:ext>
                </a:extLst>
              </p:cNvPr>
              <p:cNvSpPr>
                <a:spLocks noChangeAspect="1" noEditPoints="1"/>
              </p:cNvSpPr>
              <p:nvPr/>
            </p:nvSpPr>
            <p:spPr bwMode="auto">
              <a:xfrm>
                <a:off x="7362536" y="2646081"/>
                <a:ext cx="264281" cy="1459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2375BA"/>
              </a:solidFill>
              <a:ln w="31750" cap="sq">
                <a:solidFill>
                  <a:srgbClr val="2375B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75BA"/>
                  </a:solidFill>
                  <a:effectLst/>
                  <a:uLnTx/>
                  <a:uFillTx/>
                  <a:latin typeface="Segoe UI Semibold"/>
                  <a:ea typeface="+mn-ea"/>
                  <a:cs typeface="+mn-cs"/>
                </a:endParaRPr>
              </a:p>
            </p:txBody>
          </p:sp>
        </p:grpSp>
        <p:sp>
          <p:nvSpPr>
            <p:cNvPr id="187" name="TextBox 73">
              <a:extLst>
                <a:ext uri="{FF2B5EF4-FFF2-40B4-BE49-F238E27FC236}">
                  <a16:creationId xmlns:a16="http://schemas.microsoft.com/office/drawing/2014/main" id="{E27773BD-7799-2EEA-21CD-4D003D86B6B4}"/>
                </a:ext>
              </a:extLst>
            </p:cNvPr>
            <p:cNvSpPr txBox="1"/>
            <p:nvPr/>
          </p:nvSpPr>
          <p:spPr>
            <a:xfrm>
              <a:off x="7663089" y="2544335"/>
              <a:ext cx="1331062"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E826F1B-C909-4119-0898-9BE15D56C58E}"/>
              </a:ext>
              <a:ext uri="{C183D7F6-B498-43B3-948B-1728B52AA6E4}">
                <adec:decorative xmlns:adec="http://schemas.microsoft.com/office/drawing/2017/decorative" val="1"/>
              </a:ext>
            </a:extLst>
          </p:cNvPr>
          <p:cNvGrpSpPr/>
          <p:nvPr/>
        </p:nvGrpSpPr>
        <p:grpSpPr>
          <a:xfrm>
            <a:off x="4606437" y="1931328"/>
            <a:ext cx="1844086" cy="567047"/>
            <a:chOff x="2785272" y="2792887"/>
            <a:chExt cx="1844086" cy="567047"/>
          </a:xfrm>
        </p:grpSpPr>
        <p:sp>
          <p:nvSpPr>
            <p:cNvPr id="93" name="Rounded Rectangle 1">
              <a:extLst>
                <a:ext uri="{FF2B5EF4-FFF2-40B4-BE49-F238E27FC236}">
                  <a16:creationId xmlns:a16="http://schemas.microsoft.com/office/drawing/2014/main" id="{318E7355-3165-E84A-41FE-8E2AEE36DCDA}"/>
                </a:ext>
              </a:extLst>
            </p:cNvPr>
            <p:cNvSpPr/>
            <p:nvPr/>
          </p:nvSpPr>
          <p:spPr bwMode="auto">
            <a:xfrm flipV="1">
              <a:off x="2967089" y="2792887"/>
              <a:ext cx="1662269" cy="49762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71D026E5-5C12-C85D-EFEE-5B63794BE834}"/>
                </a:ext>
              </a:extLst>
            </p:cNvPr>
            <p:cNvSpPr/>
            <p:nvPr/>
          </p:nvSpPr>
          <p:spPr bwMode="auto">
            <a:xfrm flipV="1">
              <a:off x="2785272" y="2911312"/>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98" name="TextBox 24">
              <a:extLst>
                <a:ext uri="{FF2B5EF4-FFF2-40B4-BE49-F238E27FC236}">
                  <a16:creationId xmlns:a16="http://schemas.microsoft.com/office/drawing/2014/main" id="{7C6BF34A-DAE3-1AAE-CE48-419EC18ABC88}"/>
                </a:ext>
              </a:extLst>
            </p:cNvPr>
            <p:cNvSpPr txBox="1"/>
            <p:nvPr/>
          </p:nvSpPr>
          <p:spPr>
            <a:xfrm>
              <a:off x="3111965" y="2867491"/>
              <a:ext cx="1363656"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pic>
          <p:nvPicPr>
            <p:cNvPr id="238" name="Graphic 88" descr="Magnifying glass with solid fill">
              <a:extLst>
                <a:ext uri="{FF2B5EF4-FFF2-40B4-BE49-F238E27FC236}">
                  <a16:creationId xmlns:a16="http://schemas.microsoft.com/office/drawing/2014/main" id="{491832CD-AF15-63A7-1218-8C1A507238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2358" y="2903035"/>
              <a:ext cx="360893" cy="360893"/>
            </a:xfrm>
            <a:prstGeom prst="rect">
              <a:avLst/>
            </a:prstGeom>
          </p:spPr>
        </p:pic>
        <p:pic>
          <p:nvPicPr>
            <p:cNvPr id="249" name="Picture 248">
              <a:extLst>
                <a:ext uri="{FF2B5EF4-FFF2-40B4-BE49-F238E27FC236}">
                  <a16:creationId xmlns:a16="http://schemas.microsoft.com/office/drawing/2014/main" id="{71614722-696B-854C-4EE4-4EBF8FDB235B}"/>
                </a:ext>
              </a:extLst>
            </p:cNvPr>
            <p:cNvPicPr>
              <a:picLocks noChangeAspect="1"/>
            </p:cNvPicPr>
            <p:nvPr/>
          </p:nvPicPr>
          <p:blipFill>
            <a:blip r:embed="rId5"/>
            <a:stretch>
              <a:fillRect/>
            </a:stretch>
          </p:blipFill>
          <p:spPr>
            <a:xfrm>
              <a:off x="2795087" y="2989403"/>
              <a:ext cx="216080" cy="120507"/>
            </a:xfrm>
            <a:prstGeom prst="rect">
              <a:avLst/>
            </a:prstGeom>
          </p:spPr>
        </p:pic>
      </p:grpSp>
      <p:sp>
        <p:nvSpPr>
          <p:cNvPr id="11" name="Rectangle 10" descr="Azure AI Services ">
            <a:extLst>
              <a:ext uri="{FF2B5EF4-FFF2-40B4-BE49-F238E27FC236}">
                <a16:creationId xmlns:a16="http://schemas.microsoft.com/office/drawing/2014/main" id="{F988A4AF-D9A2-4139-A944-8135AF4E6009}"/>
              </a:ext>
            </a:extLst>
          </p:cNvPr>
          <p:cNvSpPr/>
          <p:nvPr/>
        </p:nvSpPr>
        <p:spPr bwMode="auto">
          <a:xfrm rot="5400000">
            <a:off x="-163778" y="3392908"/>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71A9B588-29C1-584A-87A2-A22FF8E3B9CD}"/>
              </a:ext>
              <a:ext uri="{C183D7F6-B498-43B3-948B-1728B52AA6E4}">
                <adec:decorative xmlns:adec="http://schemas.microsoft.com/office/drawing/2017/decorative" val="1"/>
              </a:ext>
            </a:extLst>
          </p:cNvPr>
          <p:cNvGrpSpPr/>
          <p:nvPr/>
        </p:nvGrpSpPr>
        <p:grpSpPr>
          <a:xfrm>
            <a:off x="6962566" y="2621120"/>
            <a:ext cx="1776965" cy="479963"/>
            <a:chOff x="2517103" y="1979303"/>
            <a:chExt cx="1776965" cy="479963"/>
          </a:xfrm>
        </p:grpSpPr>
        <p:sp>
          <p:nvSpPr>
            <p:cNvPr id="280" name="Rounded Rectangle 1">
              <a:extLst>
                <a:ext uri="{FF2B5EF4-FFF2-40B4-BE49-F238E27FC236}">
                  <a16:creationId xmlns:a16="http://schemas.microsoft.com/office/drawing/2014/main" id="{6C25B4E4-00D1-AB7F-711C-FBA06CC21386}"/>
                </a:ext>
              </a:extLst>
            </p:cNvPr>
            <p:cNvSpPr/>
            <p:nvPr/>
          </p:nvSpPr>
          <p:spPr bwMode="auto">
            <a:xfrm flipV="1">
              <a:off x="2623669" y="1979303"/>
              <a:ext cx="1670399" cy="479963"/>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84" name="TextBox 113">
              <a:extLst>
                <a:ext uri="{FF2B5EF4-FFF2-40B4-BE49-F238E27FC236}">
                  <a16:creationId xmlns:a16="http://schemas.microsoft.com/office/drawing/2014/main" id="{1BE388FF-5340-D923-67E0-F7EB3A627B02}"/>
                </a:ext>
              </a:extLst>
            </p:cNvPr>
            <p:cNvSpPr txBox="1"/>
            <p:nvPr/>
          </p:nvSpPr>
          <p:spPr>
            <a:xfrm>
              <a:off x="2954240" y="2063356"/>
              <a:ext cx="1048053"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Language</a:t>
              </a:r>
            </a:p>
          </p:txBody>
        </p:sp>
        <p:sp>
          <p:nvSpPr>
            <p:cNvPr id="8" name="Rectangle: Rounded Corners 7">
              <a:extLst>
                <a:ext uri="{FF2B5EF4-FFF2-40B4-BE49-F238E27FC236}">
                  <a16:creationId xmlns:a16="http://schemas.microsoft.com/office/drawing/2014/main" id="{3DF111F4-6DA7-934F-D683-5E5D4A7C49BE}"/>
                </a:ext>
              </a:extLst>
            </p:cNvPr>
            <p:cNvSpPr/>
            <p:nvPr/>
          </p:nvSpPr>
          <p:spPr bwMode="auto">
            <a:xfrm flipV="1">
              <a:off x="2517103" y="2118697"/>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pic>
          <p:nvPicPr>
            <p:cNvPr id="309" name="Picture 309">
              <a:extLst>
                <a:ext uri="{FF2B5EF4-FFF2-40B4-BE49-F238E27FC236}">
                  <a16:creationId xmlns:a16="http://schemas.microsoft.com/office/drawing/2014/main" id="{A775EEC7-C7CE-BB4E-08C7-90A14425778F}"/>
                </a:ext>
              </a:extLst>
            </p:cNvPr>
            <p:cNvPicPr>
              <a:picLocks noChangeAspect="1"/>
            </p:cNvPicPr>
            <p:nvPr/>
          </p:nvPicPr>
          <p:blipFill>
            <a:blip r:embed="rId6"/>
            <a:stretch>
              <a:fillRect/>
            </a:stretch>
          </p:blipFill>
          <p:spPr>
            <a:xfrm>
              <a:off x="2539816" y="2133611"/>
              <a:ext cx="276225" cy="266700"/>
            </a:xfrm>
            <a:prstGeom prst="rect">
              <a:avLst/>
            </a:prstGeom>
          </p:spPr>
        </p:pic>
      </p:grpSp>
      <p:grpSp>
        <p:nvGrpSpPr>
          <p:cNvPr id="39" name="Group 38">
            <a:extLst>
              <a:ext uri="{FF2B5EF4-FFF2-40B4-BE49-F238E27FC236}">
                <a16:creationId xmlns:a16="http://schemas.microsoft.com/office/drawing/2014/main" id="{12EB0E76-F12B-FFCB-57A9-396875289B43}"/>
              </a:ext>
              <a:ext uri="{C183D7F6-B498-43B3-948B-1728B52AA6E4}">
                <adec:decorative xmlns:adec="http://schemas.microsoft.com/office/drawing/2017/decorative" val="1"/>
              </a:ext>
            </a:extLst>
          </p:cNvPr>
          <p:cNvGrpSpPr/>
          <p:nvPr/>
        </p:nvGrpSpPr>
        <p:grpSpPr>
          <a:xfrm>
            <a:off x="6955478" y="1942933"/>
            <a:ext cx="1772045" cy="584065"/>
            <a:chOff x="6308872" y="2081099"/>
            <a:chExt cx="1772045" cy="584065"/>
          </a:xfrm>
        </p:grpSpPr>
        <p:grpSp>
          <p:nvGrpSpPr>
            <p:cNvPr id="38" name="Group 37">
              <a:extLst>
                <a:ext uri="{FF2B5EF4-FFF2-40B4-BE49-F238E27FC236}">
                  <a16:creationId xmlns:a16="http://schemas.microsoft.com/office/drawing/2014/main" id="{172C8740-7EED-2CE4-6E67-00A6E36E784A}"/>
                </a:ext>
              </a:extLst>
            </p:cNvPr>
            <p:cNvGrpSpPr/>
            <p:nvPr/>
          </p:nvGrpSpPr>
          <p:grpSpPr>
            <a:xfrm>
              <a:off x="6308872" y="2081099"/>
              <a:ext cx="1772045" cy="584065"/>
              <a:chOff x="6308872" y="2081099"/>
              <a:chExt cx="1772045" cy="584065"/>
            </a:xfrm>
          </p:grpSpPr>
          <p:sp>
            <p:nvSpPr>
              <p:cNvPr id="106" name="Rounded Rectangle 1">
                <a:extLst>
                  <a:ext uri="{FF2B5EF4-FFF2-40B4-BE49-F238E27FC236}">
                    <a16:creationId xmlns:a16="http://schemas.microsoft.com/office/drawing/2014/main" id="{0FC3B12A-B0AE-1047-C531-A5494DB71EB4}"/>
                  </a:ext>
                </a:extLst>
              </p:cNvPr>
              <p:cNvSpPr/>
              <p:nvPr/>
            </p:nvSpPr>
            <p:spPr bwMode="auto">
              <a:xfrm flipV="1">
                <a:off x="6418649" y="2081099"/>
                <a:ext cx="1662268"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9" name="TextBox 31">
                <a:extLst>
                  <a:ext uri="{FF2B5EF4-FFF2-40B4-BE49-F238E27FC236}">
                    <a16:creationId xmlns:a16="http://schemas.microsoft.com/office/drawing/2014/main" id="{5229F32B-AFB3-464D-C87F-23B91F9EEDB2}"/>
                  </a:ext>
                </a:extLst>
              </p:cNvPr>
              <p:cNvSpPr txBox="1"/>
              <p:nvPr/>
            </p:nvSpPr>
            <p:spPr>
              <a:xfrm>
                <a:off x="6582684" y="2157333"/>
                <a:ext cx="1373361"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pee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7" name="Rectangle: Rounded Corners 36">
                <a:extLst>
                  <a:ext uri="{FF2B5EF4-FFF2-40B4-BE49-F238E27FC236}">
                    <a16:creationId xmlns:a16="http://schemas.microsoft.com/office/drawing/2014/main" id="{6B09E3D0-541B-07ED-FA28-556FBA681442}"/>
                  </a:ext>
                </a:extLst>
              </p:cNvPr>
              <p:cNvSpPr/>
              <p:nvPr/>
            </p:nvSpPr>
            <p:spPr bwMode="auto">
              <a:xfrm flipV="1">
                <a:off x="6308872" y="2228899"/>
                <a:ext cx="348747" cy="28496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grpSp>
        <p:pic>
          <p:nvPicPr>
            <p:cNvPr id="310" name="Picture 310">
              <a:extLst>
                <a:ext uri="{FF2B5EF4-FFF2-40B4-BE49-F238E27FC236}">
                  <a16:creationId xmlns:a16="http://schemas.microsoft.com/office/drawing/2014/main" id="{FC7D3BDE-C1F4-2D25-32F2-BCA55738ED57}"/>
                </a:ext>
              </a:extLst>
            </p:cNvPr>
            <p:cNvPicPr>
              <a:picLocks noChangeAspect="1"/>
            </p:cNvPicPr>
            <p:nvPr/>
          </p:nvPicPr>
          <p:blipFill>
            <a:blip r:embed="rId7"/>
            <a:stretch>
              <a:fillRect/>
            </a:stretch>
          </p:blipFill>
          <p:spPr>
            <a:xfrm>
              <a:off x="6352717" y="2220593"/>
              <a:ext cx="200025" cy="285750"/>
            </a:xfrm>
            <a:prstGeom prst="rect">
              <a:avLst/>
            </a:prstGeom>
          </p:spPr>
        </p:pic>
      </p:grpSp>
      <p:grpSp>
        <p:nvGrpSpPr>
          <p:cNvPr id="45" name="Group 44">
            <a:extLst>
              <a:ext uri="{FF2B5EF4-FFF2-40B4-BE49-F238E27FC236}">
                <a16:creationId xmlns:a16="http://schemas.microsoft.com/office/drawing/2014/main" id="{1B5C9458-5FF4-37F2-63F5-A5E17BBDDFFC}"/>
              </a:ext>
              <a:ext uri="{C183D7F6-B498-43B3-948B-1728B52AA6E4}">
                <adec:decorative xmlns:adec="http://schemas.microsoft.com/office/drawing/2017/decorative" val="1"/>
              </a:ext>
            </a:extLst>
          </p:cNvPr>
          <p:cNvGrpSpPr/>
          <p:nvPr/>
        </p:nvGrpSpPr>
        <p:grpSpPr>
          <a:xfrm>
            <a:off x="2146317" y="4181045"/>
            <a:ext cx="8853572" cy="490021"/>
            <a:chOff x="2146317" y="4208399"/>
            <a:chExt cx="8853572" cy="490021"/>
          </a:xfrm>
        </p:grpSpPr>
        <p:sp>
          <p:nvSpPr>
            <p:cNvPr id="41" name="Rectangle: Rounded Corners 40">
              <a:extLst>
                <a:ext uri="{FF2B5EF4-FFF2-40B4-BE49-F238E27FC236}">
                  <a16:creationId xmlns:a16="http://schemas.microsoft.com/office/drawing/2014/main" id="{FDF85D59-7F8A-5F35-E6E8-07EF9F1A833F}"/>
                </a:ext>
              </a:extLst>
            </p:cNvPr>
            <p:cNvSpPr/>
            <p:nvPr/>
          </p:nvSpPr>
          <p:spPr bwMode="auto">
            <a:xfrm flipV="1">
              <a:off x="6869010" y="4396051"/>
              <a:ext cx="481200" cy="199910"/>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44" name="Group 43">
              <a:extLst>
                <a:ext uri="{FF2B5EF4-FFF2-40B4-BE49-F238E27FC236}">
                  <a16:creationId xmlns:a16="http://schemas.microsoft.com/office/drawing/2014/main" id="{7C983309-0FA6-5BF3-75B2-C2313C488531}"/>
                </a:ext>
              </a:extLst>
            </p:cNvPr>
            <p:cNvGrpSpPr/>
            <p:nvPr/>
          </p:nvGrpSpPr>
          <p:grpSpPr>
            <a:xfrm>
              <a:off x="2146317" y="4208399"/>
              <a:ext cx="8853572" cy="490021"/>
              <a:chOff x="2146317" y="4017016"/>
              <a:chExt cx="8853572" cy="490021"/>
            </a:xfrm>
          </p:grpSpPr>
          <p:sp>
            <p:nvSpPr>
              <p:cNvPr id="20" name="Rounded Rectangle 1">
                <a:extLst>
                  <a:ext uri="{FF2B5EF4-FFF2-40B4-BE49-F238E27FC236}">
                    <a16:creationId xmlns:a16="http://schemas.microsoft.com/office/drawing/2014/main" id="{5BA1B9A3-8F96-4944-9542-F7DB276A6FDF}"/>
                  </a:ext>
                </a:extLst>
              </p:cNvPr>
              <p:cNvSpPr/>
              <p:nvPr/>
            </p:nvSpPr>
            <p:spPr bwMode="auto">
              <a:xfrm flipV="1">
                <a:off x="7065255" y="4017016"/>
                <a:ext cx="1674276"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16EFA06-66E9-5D5B-24D0-0D934F9900CE}"/>
                  </a:ext>
                </a:extLst>
              </p:cNvPr>
              <p:cNvSpPr/>
              <p:nvPr/>
            </p:nvSpPr>
            <p:spPr bwMode="auto">
              <a:xfrm flipV="1">
                <a:off x="2277830" y="4017018"/>
                <a:ext cx="1755163"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9" name="Rounded Rectangle 1">
                <a:extLst>
                  <a:ext uri="{FF2B5EF4-FFF2-40B4-BE49-F238E27FC236}">
                    <a16:creationId xmlns:a16="http://schemas.microsoft.com/office/drawing/2014/main" id="{06509A06-081C-FAC2-A877-AD34B04655ED}"/>
                  </a:ext>
                </a:extLst>
              </p:cNvPr>
              <p:cNvSpPr/>
              <p:nvPr/>
            </p:nvSpPr>
            <p:spPr bwMode="auto">
              <a:xfrm flipV="1">
                <a:off x="4767301" y="4017016"/>
                <a:ext cx="1678817"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23" name="Rounded Rectangle 1">
                <a:extLst>
                  <a:ext uri="{FF2B5EF4-FFF2-40B4-BE49-F238E27FC236}">
                    <a16:creationId xmlns:a16="http://schemas.microsoft.com/office/drawing/2014/main" id="{42B7F3A1-0F55-C602-54EF-B5877E56EABB}"/>
                  </a:ext>
                </a:extLst>
              </p:cNvPr>
              <p:cNvSpPr/>
              <p:nvPr/>
            </p:nvSpPr>
            <p:spPr bwMode="auto">
              <a:xfrm flipV="1">
                <a:off x="9337621" y="4017016"/>
                <a:ext cx="1662268"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4">
                <a:extLst>
                  <a:ext uri="{FF2B5EF4-FFF2-40B4-BE49-F238E27FC236}">
                    <a16:creationId xmlns:a16="http://schemas.microsoft.com/office/drawing/2014/main" id="{7759F36C-CDC7-C160-0003-BE433B90F1CB}"/>
                  </a:ext>
                </a:extLst>
              </p:cNvPr>
              <p:cNvSpPr txBox="1"/>
              <p:nvPr/>
            </p:nvSpPr>
            <p:spPr>
              <a:xfrm>
                <a:off x="2315640" y="4102765"/>
                <a:ext cx="174645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Responsibl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Dashboard</a:t>
                </a:r>
              </a:p>
            </p:txBody>
          </p:sp>
          <p:grpSp>
            <p:nvGrpSpPr>
              <p:cNvPr id="270" name="Group 269">
                <a:extLst>
                  <a:ext uri="{FF2B5EF4-FFF2-40B4-BE49-F238E27FC236}">
                    <a16:creationId xmlns:a16="http://schemas.microsoft.com/office/drawing/2014/main" id="{A7737BB7-34DF-FD74-6864-1B99DA8B28E7}"/>
                  </a:ext>
                </a:extLst>
              </p:cNvPr>
              <p:cNvGrpSpPr/>
              <p:nvPr/>
            </p:nvGrpSpPr>
            <p:grpSpPr>
              <a:xfrm>
                <a:off x="2146317" y="4201508"/>
                <a:ext cx="325506" cy="212054"/>
                <a:chOff x="2195663" y="4183417"/>
                <a:chExt cx="436317" cy="297923"/>
              </a:xfrm>
            </p:grpSpPr>
            <p:grpSp>
              <p:nvGrpSpPr>
                <p:cNvPr id="261" name="Group 260">
                  <a:extLst>
                    <a:ext uri="{FF2B5EF4-FFF2-40B4-BE49-F238E27FC236}">
                      <a16:creationId xmlns:a16="http://schemas.microsoft.com/office/drawing/2014/main" id="{6D9E6F1A-C705-3CD9-7F3E-D729D19D8380}"/>
                    </a:ext>
                  </a:extLst>
                </p:cNvPr>
                <p:cNvGrpSpPr/>
                <p:nvPr/>
              </p:nvGrpSpPr>
              <p:grpSpPr>
                <a:xfrm>
                  <a:off x="2195663" y="4183417"/>
                  <a:ext cx="436317" cy="297923"/>
                  <a:chOff x="2195663" y="4183417"/>
                  <a:chExt cx="409559" cy="279652"/>
                </a:xfrm>
              </p:grpSpPr>
              <p:sp>
                <p:nvSpPr>
                  <p:cNvPr id="264" name="Rectangle: Rounded Corners 263">
                    <a:extLst>
                      <a:ext uri="{FF2B5EF4-FFF2-40B4-BE49-F238E27FC236}">
                        <a16:creationId xmlns:a16="http://schemas.microsoft.com/office/drawing/2014/main" id="{57ABE61F-A0F4-D4C0-B415-3F7BF2C1621B}"/>
                      </a:ext>
                    </a:extLst>
                  </p:cNvPr>
                  <p:cNvSpPr/>
                  <p:nvPr/>
                </p:nvSpPr>
                <p:spPr bwMode="auto">
                  <a:xfrm flipV="1">
                    <a:off x="2195663" y="4183417"/>
                    <a:ext cx="320797" cy="2796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D19116E1-57EA-A28E-1748-A9A41A891C05}"/>
                      </a:ext>
                    </a:extLst>
                  </p:cNvPr>
                  <p:cNvGrpSpPr/>
                  <p:nvPr/>
                </p:nvGrpSpPr>
                <p:grpSpPr>
                  <a:xfrm>
                    <a:off x="2276245" y="4212549"/>
                    <a:ext cx="328977" cy="214998"/>
                    <a:chOff x="2276245" y="4212549"/>
                    <a:chExt cx="328977" cy="214998"/>
                  </a:xfrm>
                </p:grpSpPr>
                <p:sp>
                  <p:nvSpPr>
                    <p:cNvPr id="266" name="Rectangle: Rounded Corners 265">
                      <a:extLst>
                        <a:ext uri="{FF2B5EF4-FFF2-40B4-BE49-F238E27FC236}">
                          <a16:creationId xmlns:a16="http://schemas.microsoft.com/office/drawing/2014/main" id="{24EA72AA-6D38-3D53-428E-3F745E14D682}"/>
                        </a:ext>
                      </a:extLst>
                    </p:cNvPr>
                    <p:cNvSpPr/>
                    <p:nvPr/>
                  </p:nvSpPr>
                  <p:spPr bwMode="auto">
                    <a:xfrm>
                      <a:off x="2276245" y="4212549"/>
                      <a:ext cx="328977" cy="214998"/>
                    </a:xfrm>
                    <a:prstGeom prst="roundRect">
                      <a:avLst/>
                    </a:prstGeom>
                    <a:solidFill>
                      <a:srgbClr val="2375BA"/>
                    </a:solidFill>
                    <a:ln w="25400">
                      <a:solidFill>
                        <a:srgbClr val="2375B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7" name="Rectangle: Rounded Corners 266">
                      <a:extLst>
                        <a:ext uri="{FF2B5EF4-FFF2-40B4-BE49-F238E27FC236}">
                          <a16:creationId xmlns:a16="http://schemas.microsoft.com/office/drawing/2014/main" id="{C5FE7331-5096-7C22-6A6B-E2E5E8520537}"/>
                        </a:ext>
                      </a:extLst>
                    </p:cNvPr>
                    <p:cNvSpPr/>
                    <p:nvPr/>
                  </p:nvSpPr>
                  <p:spPr bwMode="auto">
                    <a:xfrm>
                      <a:off x="2303632" y="4348135"/>
                      <a:ext cx="113051" cy="52791"/>
                    </a:xfrm>
                    <a:prstGeom prst="roundRect">
                      <a:avLst>
                        <a:gd name="adj" fmla="val 19724"/>
                      </a:avLst>
                    </a:prstGeom>
                    <a:solidFill>
                      <a:srgbClr val="EDEBF7"/>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68" name="Straight Connector 267">
                      <a:extLst>
                        <a:ext uri="{FF2B5EF4-FFF2-40B4-BE49-F238E27FC236}">
                          <a16:creationId xmlns:a16="http://schemas.microsoft.com/office/drawing/2014/main" id="{C33C9FE3-7B97-66B6-B56D-F45316F0F30F}"/>
                        </a:ext>
                        <a:ext uri="{C183D7F6-B498-43B3-948B-1728B52AA6E4}">
                          <adec:decorative xmlns:adec="http://schemas.microsoft.com/office/drawing/2017/decorative" val="1"/>
                        </a:ext>
                      </a:extLst>
                    </p:cNvPr>
                    <p:cNvCxnSpPr>
                      <a:cxnSpLocks/>
                    </p:cNvCxnSpPr>
                    <p:nvPr/>
                  </p:nvCxnSpPr>
                  <p:spPr>
                    <a:xfrm flipH="1">
                      <a:off x="2303632" y="4295036"/>
                      <a:ext cx="206478"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A01AF88-4247-A565-9713-4469199A9246}"/>
                        </a:ext>
                        <a:ext uri="{C183D7F6-B498-43B3-948B-1728B52AA6E4}">
                          <adec:decorative xmlns:adec="http://schemas.microsoft.com/office/drawing/2017/decorative" val="1"/>
                        </a:ext>
                      </a:extLst>
                    </p:cNvPr>
                    <p:cNvCxnSpPr>
                      <a:cxnSpLocks/>
                    </p:cNvCxnSpPr>
                    <p:nvPr/>
                  </p:nvCxnSpPr>
                  <p:spPr>
                    <a:xfrm flipH="1">
                      <a:off x="2301976" y="4249986"/>
                      <a:ext cx="113050"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262" name="Straight Connector 261">
                  <a:extLst>
                    <a:ext uri="{FF2B5EF4-FFF2-40B4-BE49-F238E27FC236}">
                      <a16:creationId xmlns:a16="http://schemas.microsoft.com/office/drawing/2014/main" id="{CAF5FAE4-033A-FFB1-F124-61E7C8494BE9}"/>
                    </a:ext>
                  </a:extLst>
                </p:cNvPr>
                <p:cNvCxnSpPr>
                  <a:cxnSpLocks/>
                </p:cNvCxnSpPr>
                <p:nvPr/>
              </p:nvCxnSpPr>
              <p:spPr>
                <a:xfrm>
                  <a:off x="2474243" y="4376691"/>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E0E4F9D-81D7-81E4-267D-FDF13E6B5855}"/>
                    </a:ext>
                  </a:extLst>
                </p:cNvPr>
                <p:cNvCxnSpPr>
                  <a:cxnSpLocks/>
                </p:cNvCxnSpPr>
                <p:nvPr/>
              </p:nvCxnSpPr>
              <p:spPr>
                <a:xfrm flipV="1">
                  <a:off x="2526442" y="4344850"/>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1" name="TextBox 118">
                <a:extLst>
                  <a:ext uri="{FF2B5EF4-FFF2-40B4-BE49-F238E27FC236}">
                    <a16:creationId xmlns:a16="http://schemas.microsoft.com/office/drawing/2014/main" id="{640B6B56-4E6B-AC4D-829C-D6976986BEF8}"/>
                  </a:ext>
                </a:extLst>
              </p:cNvPr>
              <p:cNvSpPr txBox="1"/>
              <p:nvPr/>
            </p:nvSpPr>
            <p:spPr>
              <a:xfrm>
                <a:off x="4970729" y="4088353"/>
                <a:ext cx="1292249"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atalog</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296" name="TextBox 122">
                <a:extLst>
                  <a:ext uri="{FF2B5EF4-FFF2-40B4-BE49-F238E27FC236}">
                    <a16:creationId xmlns:a16="http://schemas.microsoft.com/office/drawing/2014/main" id="{5E20E5C0-5123-0B36-75A0-92D912D10852}"/>
                  </a:ext>
                </a:extLst>
              </p:cNvPr>
              <p:cNvSpPr txBox="1"/>
              <p:nvPr/>
            </p:nvSpPr>
            <p:spPr>
              <a:xfrm>
                <a:off x="7515070" y="4102765"/>
                <a:ext cx="78148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Prom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Flow</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04" name="box" title="Icon of a box">
                <a:extLst>
                  <a:ext uri="{FF2B5EF4-FFF2-40B4-BE49-F238E27FC236}">
                    <a16:creationId xmlns:a16="http://schemas.microsoft.com/office/drawing/2014/main" id="{4AC8BF83-7C35-32CF-5FFA-4496ABB43DBE}"/>
                  </a:ext>
                </a:extLst>
              </p:cNvPr>
              <p:cNvSpPr>
                <a:spLocks noChangeAspect="1" noEditPoints="1"/>
              </p:cNvSpPr>
              <p:nvPr/>
            </p:nvSpPr>
            <p:spPr bwMode="auto">
              <a:xfrm>
                <a:off x="4664864" y="4170724"/>
                <a:ext cx="246780" cy="23768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solidFill>
                <a:schemeClr val="accent1"/>
              </a:solidFill>
              <a:ln w="15875" cap="flat">
                <a:solidFill>
                  <a:srgbClr val="E7EBF8"/>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Box 122">
                <a:extLst>
                  <a:ext uri="{FF2B5EF4-FFF2-40B4-BE49-F238E27FC236}">
                    <a16:creationId xmlns:a16="http://schemas.microsoft.com/office/drawing/2014/main" id="{88B49EF3-323C-4CB4-86AE-7DBA376F2F3D}"/>
                  </a:ext>
                </a:extLst>
              </p:cNvPr>
              <p:cNvSpPr txBox="1"/>
              <p:nvPr/>
            </p:nvSpPr>
            <p:spPr>
              <a:xfrm>
                <a:off x="9735007" y="4102765"/>
                <a:ext cx="95066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L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nd LLMOps</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pic>
            <p:nvPicPr>
              <p:cNvPr id="306" name="Picture 305">
                <a:extLst>
                  <a:ext uri="{FF2B5EF4-FFF2-40B4-BE49-F238E27FC236}">
                    <a16:creationId xmlns:a16="http://schemas.microsoft.com/office/drawing/2014/main" id="{2E39C174-CE35-5368-699B-3BB1B5BD70A2}"/>
                  </a:ext>
                </a:extLst>
              </p:cNvPr>
              <p:cNvPicPr>
                <a:picLocks noChangeAspect="1"/>
              </p:cNvPicPr>
              <p:nvPr/>
            </p:nvPicPr>
            <p:blipFill>
              <a:blip r:embed="rId8"/>
              <a:stretch>
                <a:fillRect/>
              </a:stretch>
            </p:blipFill>
            <p:spPr>
              <a:xfrm>
                <a:off x="6919201" y="4213197"/>
                <a:ext cx="392080" cy="173813"/>
              </a:xfrm>
              <a:prstGeom prst="rect">
                <a:avLst/>
              </a:prstGeom>
            </p:spPr>
          </p:pic>
        </p:grpSp>
      </p:grpSp>
      <p:sp>
        <p:nvSpPr>
          <p:cNvPr id="12" name="TextBox 62">
            <a:extLst>
              <a:ext uri="{FF2B5EF4-FFF2-40B4-BE49-F238E27FC236}">
                <a16:creationId xmlns:a16="http://schemas.microsoft.com/office/drawing/2014/main" id="{B967635E-EC32-4746-2C39-91F7FEF58662}"/>
              </a:ext>
            </a:extLst>
          </p:cNvPr>
          <p:cNvSpPr txBox="1"/>
          <p:nvPr/>
        </p:nvSpPr>
        <p:spPr>
          <a:xfrm rot="16200000">
            <a:off x="-1043285" y="3344885"/>
            <a:ext cx="4187867"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The place to test, build and deploy AI solutions</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604199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a:solidFill>
                  <a:srgbClr val="325282"/>
                </a:solidFill>
              </a:rPr>
              <a:t>Microsoft’s Principles of Responsible AI</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3" name="Group 2" descr="six AI principles: Accountability, Transparency, Fairness, Reliability &amp; Safety, Privacy &amp; Secuirty, and Inclusiveness ">
            <a:extLst>
              <a:ext uri="{FF2B5EF4-FFF2-40B4-BE49-F238E27FC236}">
                <a16:creationId xmlns:a16="http://schemas.microsoft.com/office/drawing/2014/main" id="{9F98B2DE-80FF-F147-BCE2-8757827C155D}"/>
              </a:ext>
            </a:extLst>
          </p:cNvPr>
          <p:cNvGrpSpPr/>
          <p:nvPr/>
        </p:nvGrpSpPr>
        <p:grpSpPr>
          <a:xfrm>
            <a:off x="588264" y="1370800"/>
            <a:ext cx="11018520" cy="5189782"/>
            <a:chOff x="353797" y="1370800"/>
            <a:chExt cx="11611229" cy="5189782"/>
          </a:xfrm>
        </p:grpSpPr>
        <p:grpSp>
          <p:nvGrpSpPr>
            <p:cNvPr id="10" name="Group 9">
              <a:extLst>
                <a:ext uri="{FF2B5EF4-FFF2-40B4-BE49-F238E27FC236}">
                  <a16:creationId xmlns:a16="http://schemas.microsoft.com/office/drawing/2014/main" id="{745AC533-73F6-46B6-A012-AD0845002A5F}"/>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5" name="Rectangle 4" descr="Accountability Goals">
                <a:extLst>
                  <a:ext uri="{FF2B5EF4-FFF2-40B4-BE49-F238E27FC236}">
                    <a16:creationId xmlns:a16="http://schemas.microsoft.com/office/drawing/2014/main" id="{1487DC0D-7482-4630-83E3-1333EB0D8CD4}"/>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Accountabili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F64C1BCC-30CF-4FA2-A3C1-8DEE1EB57A29}"/>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6BEF098A-8F37-4C49-951B-205D93F1E34D}"/>
                  </a:ext>
                </a:extLst>
              </p:cNvPr>
              <p:cNvSpPr txBox="1"/>
              <p:nvPr/>
            </p:nvSpPr>
            <p:spPr>
              <a:xfrm>
                <a:off x="473549" y="1073142"/>
                <a:ext cx="2368908" cy="2021066"/>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2:</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4: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5: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13" name="Group 12">
              <a:extLst>
                <a:ext uri="{FF2B5EF4-FFF2-40B4-BE49-F238E27FC236}">
                  <a16:creationId xmlns:a16="http://schemas.microsoft.com/office/drawing/2014/main" id="{7C14F4F5-CB0D-4EBB-9F52-720D8B02D844}"/>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154" name="Rectangle 153">
                <a:extLst>
                  <a:ext uri="{FF2B5EF4-FFF2-40B4-BE49-F238E27FC236}">
                    <a16:creationId xmlns:a16="http://schemas.microsoft.com/office/drawing/2014/main" id="{790E8D2D-5983-4345-AF62-909276A4D2C1}"/>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155" name="Rectangle 154">
                <a:extLst>
                  <a:ext uri="{FF2B5EF4-FFF2-40B4-BE49-F238E27FC236}">
                    <a16:creationId xmlns:a16="http://schemas.microsoft.com/office/drawing/2014/main" id="{E32BE78D-DE11-43D1-9F43-FF7AF14BDB87}"/>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C85C39A-CE7C-4BEA-B6AC-9667791FA31B}"/>
                  </a:ext>
                </a:extLst>
              </p:cNvPr>
              <p:cNvSpPr txBox="1"/>
              <p:nvPr/>
            </p:nvSpPr>
            <p:spPr>
              <a:xfrm>
                <a:off x="3416069" y="956829"/>
                <a:ext cx="2225957" cy="1189782"/>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14" name="Group 13">
              <a:extLst>
                <a:ext uri="{FF2B5EF4-FFF2-40B4-BE49-F238E27FC236}">
                  <a16:creationId xmlns:a16="http://schemas.microsoft.com/office/drawing/2014/main" id="{E7C20191-E044-4167-B749-CB11619530E9}"/>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281" name="Rectangle 280">
                <a:extLst>
                  <a:ext uri="{FF2B5EF4-FFF2-40B4-BE49-F238E27FC236}">
                    <a16:creationId xmlns:a16="http://schemas.microsoft.com/office/drawing/2014/main" id="{33F0BF15-234A-45AD-9F48-CEAC0EF623B4}"/>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82" name="Rectangle 281">
                <a:extLst>
                  <a:ext uri="{FF2B5EF4-FFF2-40B4-BE49-F238E27FC236}">
                    <a16:creationId xmlns:a16="http://schemas.microsoft.com/office/drawing/2014/main" id="{3F46897F-DAE6-4183-97CB-90AAE666FCEE}"/>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53479E0E-12DD-48CC-9F75-F1DDA2A0C05A}"/>
                  </a:ext>
                </a:extLst>
              </p:cNvPr>
              <p:cNvSpPr txBox="1"/>
              <p:nvPr/>
            </p:nvSpPr>
            <p:spPr>
              <a:xfrm>
                <a:off x="6347644" y="1043756"/>
                <a:ext cx="2276563" cy="1554403"/>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16" name="Group 15">
              <a:extLst>
                <a:ext uri="{FF2B5EF4-FFF2-40B4-BE49-F238E27FC236}">
                  <a16:creationId xmlns:a16="http://schemas.microsoft.com/office/drawing/2014/main" id="{ECC61EBF-1D74-4A30-B58B-80BDAE69428C}"/>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234" name="Rectangle 233">
                <a:extLst>
                  <a:ext uri="{FF2B5EF4-FFF2-40B4-BE49-F238E27FC236}">
                    <a16:creationId xmlns:a16="http://schemas.microsoft.com/office/drawing/2014/main" id="{291C26BA-FB55-4B8E-841E-7B11E05A8D2A}"/>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35" name="Rectangle 234">
                <a:extLst>
                  <a:ext uri="{FF2B5EF4-FFF2-40B4-BE49-F238E27FC236}">
                    <a16:creationId xmlns:a16="http://schemas.microsoft.com/office/drawing/2014/main" id="{3D66A062-BF1D-4AE1-ADD5-D7D297FA56C0}"/>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2EA653C2-E7FF-4A4B-8F37-DEECAF4485F3}"/>
                  </a:ext>
                </a:extLst>
              </p:cNvPr>
              <p:cNvSpPr txBox="1"/>
              <p:nvPr/>
            </p:nvSpPr>
            <p:spPr>
              <a:xfrm>
                <a:off x="9271110" y="994493"/>
                <a:ext cx="2338178" cy="1438055"/>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 name="Group 1">
              <a:extLst>
                <a:ext uri="{FF2B5EF4-FFF2-40B4-BE49-F238E27FC236}">
                  <a16:creationId xmlns:a16="http://schemas.microsoft.com/office/drawing/2014/main" id="{67184E67-7E25-42ED-A0BD-F577E3FE580F}"/>
                </a:ext>
              </a:extLst>
            </p:cNvPr>
            <p:cNvGrpSpPr/>
            <p:nvPr/>
          </p:nvGrpSpPr>
          <p:grpSpPr>
            <a:xfrm>
              <a:off x="353797" y="4965413"/>
              <a:ext cx="5699209" cy="1595168"/>
              <a:chOff x="353797" y="4965413"/>
              <a:chExt cx="5699209" cy="1595168"/>
            </a:xfrm>
          </p:grpSpPr>
          <p:sp>
            <p:nvSpPr>
              <p:cNvPr id="15" name="Rectangle 14">
                <a:extLst>
                  <a:ext uri="{FF2B5EF4-FFF2-40B4-BE49-F238E27FC236}">
                    <a16:creationId xmlns:a16="http://schemas.microsoft.com/office/drawing/2014/main" id="{C37AC931-0871-45C7-A84F-32284AFD632B}"/>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19" name="Rectangle 18">
                <a:extLst>
                  <a:ext uri="{FF2B5EF4-FFF2-40B4-BE49-F238E27FC236}">
                    <a16:creationId xmlns:a16="http://schemas.microsoft.com/office/drawing/2014/main" id="{136F6BFD-9E9A-41EA-853F-80A9E56F80F6}"/>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E818DBAA-830D-4DD1-8061-BEE22DDB82EA}"/>
                  </a:ext>
                </a:extLst>
              </p:cNvPr>
              <p:cNvSpPr txBox="1"/>
              <p:nvPr/>
            </p:nvSpPr>
            <p:spPr>
              <a:xfrm>
                <a:off x="566086" y="5542099"/>
                <a:ext cx="4309052" cy="600164"/>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9" name="Group 8">
              <a:extLst>
                <a:ext uri="{FF2B5EF4-FFF2-40B4-BE49-F238E27FC236}">
                  <a16:creationId xmlns:a16="http://schemas.microsoft.com/office/drawing/2014/main" id="{501D18AE-E465-41DD-96B0-D7244F0C023E}"/>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133" name="Rectangle 132">
                <a:extLst>
                  <a:ext uri="{FF2B5EF4-FFF2-40B4-BE49-F238E27FC236}">
                    <a16:creationId xmlns:a16="http://schemas.microsoft.com/office/drawing/2014/main" id="{B23B83B5-AC8F-4A1D-A6AE-04F33FDA9876}"/>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134" name="Rectangle 133">
                <a:extLst>
                  <a:ext uri="{FF2B5EF4-FFF2-40B4-BE49-F238E27FC236}">
                    <a16:creationId xmlns:a16="http://schemas.microsoft.com/office/drawing/2014/main" id="{7A6D9BB9-B05F-40AD-910B-20CBE65B42D9}"/>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8E6C21A0-3162-4526-B84E-1B70058C232C}"/>
                  </a:ext>
                </a:extLst>
              </p:cNvPr>
              <p:cNvSpPr txBox="1"/>
              <p:nvPr/>
            </p:nvSpPr>
            <p:spPr>
              <a:xfrm>
                <a:off x="3411858" y="5088181"/>
                <a:ext cx="2074076" cy="307777"/>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2614433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C3245-B135-7BEE-261D-28E1EE4FDABD}"/>
              </a:ext>
            </a:extLst>
          </p:cNvPr>
          <p:cNvSpPr>
            <a:spLocks noGrp="1"/>
          </p:cNvSpPr>
          <p:nvPr>
            <p:ph type="title"/>
          </p:nvPr>
        </p:nvSpPr>
        <p:spPr/>
        <p:txBody>
          <a:bodyPr/>
          <a:lstStyle/>
          <a:p>
            <a:endParaRPr lang="en-IE"/>
          </a:p>
        </p:txBody>
      </p:sp>
      <p:sp>
        <p:nvSpPr>
          <p:cNvPr id="3" name="Content Placeholder 2">
            <a:extLst>
              <a:ext uri="{FF2B5EF4-FFF2-40B4-BE49-F238E27FC236}">
                <a16:creationId xmlns:a16="http://schemas.microsoft.com/office/drawing/2014/main" id="{63BE7E42-3131-0E95-4300-6C342ED245E2}"/>
              </a:ext>
            </a:extLst>
          </p:cNvPr>
          <p:cNvSpPr>
            <a:spLocks noGrp="1"/>
          </p:cNvSpPr>
          <p:nvPr>
            <p:ph idx="1"/>
          </p:nvPr>
        </p:nvSpPr>
        <p:spPr/>
        <p:txBody>
          <a:bodyPr/>
          <a:lstStyle/>
          <a:p>
            <a:r>
              <a:rPr lang="en-IE" dirty="0"/>
              <a:t>Azure Cognitive </a:t>
            </a:r>
            <a:r>
              <a:rPr lang="en-IE" dirty="0" err="1"/>
              <a:t>Servces</a:t>
            </a:r>
            <a:r>
              <a:rPr lang="en-IE" dirty="0"/>
              <a:t> </a:t>
            </a:r>
          </a:p>
          <a:p>
            <a:pPr lvl="1"/>
            <a:r>
              <a:rPr lang="en-IE" dirty="0"/>
              <a:t>Azure Speech Service</a:t>
            </a:r>
          </a:p>
          <a:p>
            <a:pPr lvl="2"/>
            <a:r>
              <a:rPr lang="en-IE" dirty="0"/>
              <a:t>Azure Speech to Text</a:t>
            </a:r>
          </a:p>
          <a:p>
            <a:pPr lvl="2"/>
            <a:r>
              <a:rPr lang="en-IE" dirty="0"/>
              <a:t>Azure Text to Speech</a:t>
            </a:r>
          </a:p>
          <a:p>
            <a:pPr lvl="1"/>
            <a:r>
              <a:rPr lang="en-IE" dirty="0"/>
              <a:t>Azure Translator</a:t>
            </a:r>
          </a:p>
        </p:txBody>
      </p:sp>
    </p:spTree>
    <p:extLst>
      <p:ext uri="{BB962C8B-B14F-4D97-AF65-F5344CB8AC3E}">
        <p14:creationId xmlns:p14="http://schemas.microsoft.com/office/powerpoint/2010/main" val="2131613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315A28-B942-9916-E945-2923F1E50228}"/>
              </a:ext>
            </a:extLst>
          </p:cNvPr>
          <p:cNvSpPr>
            <a:spLocks noGrp="1"/>
          </p:cNvSpPr>
          <p:nvPr>
            <p:ph type="title" idx="4294967295"/>
          </p:nvPr>
        </p:nvSpPr>
        <p:spPr>
          <a:xfrm>
            <a:off x="1174750" y="457200"/>
            <a:ext cx="11017250" cy="554038"/>
          </a:xfrm>
          <a:prstGeom prst="rect">
            <a:avLst/>
          </a:prstGeom>
        </p:spPr>
        <p:txBody>
          <a:bodyPr/>
          <a:lstStyle/>
          <a:p>
            <a:r>
              <a:rPr lang="en-US">
                <a:solidFill>
                  <a:schemeClr val="bg1"/>
                </a:solidFill>
              </a:rPr>
              <a:t>Towards a Microsoft Content Moderation Suite </a:t>
            </a:r>
          </a:p>
        </p:txBody>
      </p:sp>
      <p:sp>
        <p:nvSpPr>
          <p:cNvPr id="11" name="Rounded Rectangle 6">
            <a:extLst>
              <a:ext uri="{FF2B5EF4-FFF2-40B4-BE49-F238E27FC236}">
                <a16:creationId xmlns:a16="http://schemas.microsoft.com/office/drawing/2014/main" id="{A914EA33-F695-3588-309D-0559A9007855}"/>
              </a:ext>
              <a:ext uri="{C183D7F6-B498-43B3-948B-1728B52AA6E4}">
                <adec:decorative xmlns:adec="http://schemas.microsoft.com/office/drawing/2017/decorative" val="1"/>
              </a:ext>
            </a:extLst>
          </p:cNvPr>
          <p:cNvSpPr/>
          <p:nvPr/>
        </p:nvSpPr>
        <p:spPr bwMode="auto">
          <a:xfrm>
            <a:off x="584200" y="1457490"/>
            <a:ext cx="11025188" cy="56022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ur platform fits into the big picture of any customer’s Content Moderation workflow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artificial intelligence" descr="artificial intelligence, automated">
            <a:extLst>
              <a:ext uri="{FF2B5EF4-FFF2-40B4-BE49-F238E27FC236}">
                <a16:creationId xmlns:a16="http://schemas.microsoft.com/office/drawing/2014/main" id="{79B62DC6-9DB8-868B-03B9-FED560EBE6F2}"/>
              </a:ext>
            </a:extLst>
          </p:cNvPr>
          <p:cNvGrpSpPr>
            <a:grpSpLocks noChangeAspect="1"/>
          </p:cNvGrpSpPr>
          <p:nvPr/>
        </p:nvGrpSpPr>
        <p:grpSpPr>
          <a:xfrm>
            <a:off x="2060963" y="2409956"/>
            <a:ext cx="574205" cy="594504"/>
            <a:chOff x="10050541" y="4969726"/>
            <a:chExt cx="308146" cy="319040"/>
          </a:xfrm>
        </p:grpSpPr>
        <p:sp>
          <p:nvSpPr>
            <p:cNvPr id="36" name="Freeform 48">
              <a:extLst>
                <a:ext uri="{FF2B5EF4-FFF2-40B4-BE49-F238E27FC236}">
                  <a16:creationId xmlns:a16="http://schemas.microsoft.com/office/drawing/2014/main" id="{057830CD-FF3A-B4E7-0C97-2E8B7235A6FD}"/>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49">
              <a:extLst>
                <a:ext uri="{FF2B5EF4-FFF2-40B4-BE49-F238E27FC236}">
                  <a16:creationId xmlns:a16="http://schemas.microsoft.com/office/drawing/2014/main" id="{80EBA25E-92EE-2B4A-EA22-D710C0167489}"/>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50">
              <a:extLst>
                <a:ext uri="{FF2B5EF4-FFF2-40B4-BE49-F238E27FC236}">
                  <a16:creationId xmlns:a16="http://schemas.microsoft.com/office/drawing/2014/main" id="{4E78646A-36B8-3DB7-1C31-BF60B3793AE9}"/>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51">
              <a:extLst>
                <a:ext uri="{FF2B5EF4-FFF2-40B4-BE49-F238E27FC236}">
                  <a16:creationId xmlns:a16="http://schemas.microsoft.com/office/drawing/2014/main" id="{B78F057D-731D-E14C-FFAA-194171AE410C}"/>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2">
              <a:extLst>
                <a:ext uri="{FF2B5EF4-FFF2-40B4-BE49-F238E27FC236}">
                  <a16:creationId xmlns:a16="http://schemas.microsoft.com/office/drawing/2014/main" id="{799DB8BF-CFE4-0BC8-D76D-2E6516A83AF2}"/>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53">
              <a:extLst>
                <a:ext uri="{FF2B5EF4-FFF2-40B4-BE49-F238E27FC236}">
                  <a16:creationId xmlns:a16="http://schemas.microsoft.com/office/drawing/2014/main" id="{BA512A86-17DD-C016-2FA2-249AE928578A}"/>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54">
              <a:extLst>
                <a:ext uri="{FF2B5EF4-FFF2-40B4-BE49-F238E27FC236}">
                  <a16:creationId xmlns:a16="http://schemas.microsoft.com/office/drawing/2014/main" id="{72D04A9B-DCD5-9024-3F1F-EB43A85EEC57}"/>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55">
              <a:extLst>
                <a:ext uri="{FF2B5EF4-FFF2-40B4-BE49-F238E27FC236}">
                  <a16:creationId xmlns:a16="http://schemas.microsoft.com/office/drawing/2014/main" id="{674D9250-39AD-9773-928C-7627C23CDF73}"/>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56">
              <a:extLst>
                <a:ext uri="{FF2B5EF4-FFF2-40B4-BE49-F238E27FC236}">
                  <a16:creationId xmlns:a16="http://schemas.microsoft.com/office/drawing/2014/main" id="{5359BF4D-0B52-92A4-BFA0-6FB87CE15E77}"/>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57">
              <a:extLst>
                <a:ext uri="{FF2B5EF4-FFF2-40B4-BE49-F238E27FC236}">
                  <a16:creationId xmlns:a16="http://schemas.microsoft.com/office/drawing/2014/main" id="{A2DB4FC8-C2EE-D300-0DB3-4BD6E985CE39}"/>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58">
              <a:extLst>
                <a:ext uri="{FF2B5EF4-FFF2-40B4-BE49-F238E27FC236}">
                  <a16:creationId xmlns:a16="http://schemas.microsoft.com/office/drawing/2014/main" id="{AEEA9F4A-D7C8-F89C-BF49-1592C62BA9D9}"/>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59">
              <a:extLst>
                <a:ext uri="{FF2B5EF4-FFF2-40B4-BE49-F238E27FC236}">
                  <a16:creationId xmlns:a16="http://schemas.microsoft.com/office/drawing/2014/main" id="{3FD2D91A-BB3D-95CF-E360-151B20254E73}"/>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 name="TextBox 13">
            <a:extLst>
              <a:ext uri="{FF2B5EF4-FFF2-40B4-BE49-F238E27FC236}">
                <a16:creationId xmlns:a16="http://schemas.microsoft.com/office/drawing/2014/main" id="{204CEB53-0CAC-9F48-0148-2DD1ABE2A1D7}"/>
              </a:ext>
            </a:extLst>
          </p:cNvPr>
          <p:cNvSpPr txBox="1"/>
          <p:nvPr/>
        </p:nvSpPr>
        <p:spPr>
          <a:xfrm>
            <a:off x="106393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Detect</a:t>
            </a:r>
            <a:endParaRPr kumimoji="0" lang="en-US" sz="1100" b="0" i="0" u="none" strike="noStrike" kern="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endParaRPr>
          </a:p>
        </p:txBody>
      </p:sp>
      <p:sp>
        <p:nvSpPr>
          <p:cNvPr id="9" name="Text Placeholder 3">
            <a:extLst>
              <a:ext uri="{FF2B5EF4-FFF2-40B4-BE49-F238E27FC236}">
                <a16:creationId xmlns:a16="http://schemas.microsoft.com/office/drawing/2014/main" id="{63540561-5E8C-7310-6A44-20A1E64874BA}"/>
              </a:ext>
            </a:extLst>
          </p:cNvPr>
          <p:cNvSpPr txBox="1">
            <a:spLocks/>
          </p:cNvSpPr>
          <p:nvPr/>
        </p:nvSpPr>
        <p:spPr>
          <a:xfrm>
            <a:off x="582171" y="3869962"/>
            <a:ext cx="3504405" cy="1181862"/>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Detect and assemble with Hybrid Intelligence</a:t>
            </a:r>
            <a:endPar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roduce multi-modal signals with customizable AI, rules and blocklists</a:t>
            </a:r>
          </a:p>
        </p:txBody>
      </p:sp>
      <p:pic>
        <p:nvPicPr>
          <p:cNvPr id="50" name="Graphic 49" descr="Collaboration icon">
            <a:extLst>
              <a:ext uri="{FF2B5EF4-FFF2-40B4-BE49-F238E27FC236}">
                <a16:creationId xmlns:a16="http://schemas.microsoft.com/office/drawing/2014/main" id="{40C15EA3-A7BA-7114-33CB-22C82A6BE0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28662" y="2468207"/>
            <a:ext cx="495420" cy="495420"/>
          </a:xfrm>
          <a:prstGeom prst="rect">
            <a:avLst/>
          </a:prstGeom>
        </p:spPr>
      </p:pic>
      <p:sp>
        <p:nvSpPr>
          <p:cNvPr id="15" name="TextBox 14">
            <a:extLst>
              <a:ext uri="{FF2B5EF4-FFF2-40B4-BE49-F238E27FC236}">
                <a16:creationId xmlns:a16="http://schemas.microsoft.com/office/drawing/2014/main" id="{A739C503-1A0D-DDA5-0E1D-0984BE104064}"/>
              </a:ext>
            </a:extLst>
          </p:cNvPr>
          <p:cNvSpPr txBox="1"/>
          <p:nvPr/>
        </p:nvSpPr>
        <p:spPr>
          <a:xfrm>
            <a:off x="482684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Review</a:t>
            </a:r>
            <a:endParaRPr kumimoji="0" lang="en-US" sz="11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8" name="Text Placeholder 3">
            <a:extLst>
              <a:ext uri="{FF2B5EF4-FFF2-40B4-BE49-F238E27FC236}">
                <a16:creationId xmlns:a16="http://schemas.microsoft.com/office/drawing/2014/main" id="{9A699716-87DB-6FE5-3B8A-CE9415DA6854}"/>
              </a:ext>
            </a:extLst>
          </p:cNvPr>
          <p:cNvSpPr txBox="1">
            <a:spLocks/>
          </p:cNvSpPr>
          <p:nvPr/>
        </p:nvSpPr>
        <p:spPr>
          <a:xfrm>
            <a:off x="4356099" y="3868296"/>
            <a:ext cx="3481389" cy="1428083"/>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Understand, review and proces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Improve content moderation pipelines, streamline human review processes and annotation workflows</a:t>
            </a:r>
          </a:p>
        </p:txBody>
      </p:sp>
      <p:pic>
        <p:nvPicPr>
          <p:cNvPr id="17" name="Graphic 16" descr="click, interaction&#10;">
            <a:extLst>
              <a:ext uri="{FF2B5EF4-FFF2-40B4-BE49-F238E27FC236}">
                <a16:creationId xmlns:a16="http://schemas.microsoft.com/office/drawing/2014/main" id="{1F0CE881-9CFC-9B63-8840-20F33732C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81582" y="2448666"/>
            <a:ext cx="356335" cy="534503"/>
          </a:xfrm>
          <a:prstGeom prst="rect">
            <a:avLst/>
          </a:prstGeom>
        </p:spPr>
      </p:pic>
      <p:sp>
        <p:nvSpPr>
          <p:cNvPr id="5" name="TextBox 4">
            <a:extLst>
              <a:ext uri="{FF2B5EF4-FFF2-40B4-BE49-F238E27FC236}">
                <a16:creationId xmlns:a16="http://schemas.microsoft.com/office/drawing/2014/main" id="{D9C59123-1061-CB85-00AB-BCFD26CABD2A}"/>
              </a:ext>
            </a:extLst>
          </p:cNvPr>
          <p:cNvSpPr txBox="1"/>
          <p:nvPr/>
        </p:nvSpPr>
        <p:spPr>
          <a:xfrm>
            <a:off x="858975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Act</a:t>
            </a:r>
            <a:endParaRPr kumimoji="0" lang="en-US" sz="11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 name="Text Placeholder 3">
            <a:extLst>
              <a:ext uri="{FF2B5EF4-FFF2-40B4-BE49-F238E27FC236}">
                <a16:creationId xmlns:a16="http://schemas.microsoft.com/office/drawing/2014/main" id="{598AE45D-81DB-CA1B-C2CD-2837C2E7300D}"/>
              </a:ext>
            </a:extLst>
          </p:cNvPr>
          <p:cNvSpPr txBox="1">
            <a:spLocks/>
          </p:cNvSpPr>
          <p:nvPr/>
        </p:nvSpPr>
        <p:spPr>
          <a:xfrm>
            <a:off x="8107104" y="3870794"/>
            <a:ext cx="3499679" cy="966418"/>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Take action and manage communitie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Monitor and moderate communities </a:t>
            </a:r>
          </a:p>
        </p:txBody>
      </p:sp>
      <p:sp>
        <p:nvSpPr>
          <p:cNvPr id="18" name="Title 6">
            <a:extLst>
              <a:ext uri="{FF2B5EF4-FFF2-40B4-BE49-F238E27FC236}">
                <a16:creationId xmlns:a16="http://schemas.microsoft.com/office/drawing/2014/main" id="{FD5E7D85-6A13-259A-206D-CB53AE0E06B8}"/>
              </a:ext>
            </a:extLst>
          </p:cNvPr>
          <p:cNvSpPr txBox="1">
            <a:spLocks/>
          </p:cNvSpPr>
          <p:nvPr/>
        </p:nvSpPr>
        <p:spPr>
          <a:xfrm>
            <a:off x="688904" y="5989577"/>
            <a:ext cx="349642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AI Platform—Azure AI services</a:t>
            </a:r>
            <a:endParaRPr kumimoji="0" lang="en-US" sz="1800" b="0" i="0" u="none" strike="noStrike" kern="1200" cap="none" spc="0" normalizeH="0" baseline="0" noProof="0">
              <a:ln w="3175">
                <a:noFill/>
              </a:ln>
              <a:solidFill>
                <a:srgbClr val="50E6FF"/>
              </a:solidFill>
              <a:effectLst/>
              <a:uLnTx/>
              <a:uFillTx/>
              <a:latin typeface="Segoe UI Semibold"/>
              <a:ea typeface="+mn-ea"/>
              <a:cs typeface="Segoe UI" pitchFamily="34" charset="0"/>
            </a:endParaRPr>
          </a:p>
        </p:txBody>
      </p:sp>
      <p:sp>
        <p:nvSpPr>
          <p:cNvPr id="21" name="Title 6">
            <a:extLst>
              <a:ext uri="{FF2B5EF4-FFF2-40B4-BE49-F238E27FC236}">
                <a16:creationId xmlns:a16="http://schemas.microsoft.com/office/drawing/2014/main" id="{CAB01695-ECC4-D5BE-AC08-193672F8F3C0}"/>
              </a:ext>
            </a:extLst>
          </p:cNvPr>
          <p:cNvSpPr txBox="1">
            <a:spLocks/>
          </p:cNvSpPr>
          <p:nvPr/>
        </p:nvSpPr>
        <p:spPr>
          <a:xfrm>
            <a:off x="5613819" y="5989576"/>
            <a:ext cx="4728953" cy="276999"/>
          </a:xfrm>
          <a:prstGeom prst="rect">
            <a:avLst/>
          </a:prstGeom>
        </p:spPr>
        <p:txBody>
          <a:bodyPr vert="horz" wrap="square" lIns="0" tIns="0" rIns="0" bIns="0" rtlCol="0" anchor="t">
            <a:spAutoFit/>
          </a:bodyPr>
          <a:lstStyle>
            <a:defPPr>
              <a:defRPr lang="en-US"/>
            </a:defPPr>
            <a:lvl1pPr marR="0" lvl="0" indent="0" algn="ctr" defTabSz="932742" fontAlgn="auto">
              <a:lnSpc>
                <a:spcPct val="100000"/>
              </a:lnSpc>
              <a:spcBef>
                <a:spcPct val="0"/>
              </a:spcBef>
              <a:spcAft>
                <a:spcPts val="0"/>
              </a:spcAft>
              <a:buClrTx/>
              <a:buSzTx/>
              <a:buFontTx/>
              <a:buNone/>
              <a:tabLst/>
              <a:defRPr kumimoji="0" b="0" i="0" u="none" strike="noStrike" cap="none" spc="0" normalizeH="0" baseline="0">
                <a:ln w="3175">
                  <a:noFill/>
                </a:ln>
                <a:effectLst/>
                <a:uLnTx/>
                <a:uFillTx/>
                <a:latin typeface="+mj-lt"/>
                <a:cs typeface="Segoe UI"/>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Microsoft Content Moderation Product Suite</a:t>
            </a:r>
          </a:p>
        </p:txBody>
      </p:sp>
      <p:sp>
        <p:nvSpPr>
          <p:cNvPr id="2" name="Rectangle: Rounded Corners 11">
            <a:extLst>
              <a:ext uri="{FF2B5EF4-FFF2-40B4-BE49-F238E27FC236}">
                <a16:creationId xmlns:a16="http://schemas.microsoft.com/office/drawing/2014/main" id="{B11A9BB6-5CC4-3754-1F4A-1DC254152E25}"/>
              </a:ext>
              <a:ext uri="{C183D7F6-B498-43B3-948B-1728B52AA6E4}">
                <adec:decorative xmlns:adec="http://schemas.microsoft.com/office/drawing/2017/decorative" val="1"/>
              </a:ext>
            </a:extLst>
          </p:cNvPr>
          <p:cNvSpPr/>
          <p:nvPr/>
        </p:nvSpPr>
        <p:spPr>
          <a:xfrm>
            <a:off x="8078836" y="2735117"/>
            <a:ext cx="3635588" cy="3105244"/>
          </a:xfrm>
          <a:prstGeom prst="roundRect">
            <a:avLst>
              <a:gd name="adj" fmla="val 3116"/>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4000" rIns="182880" bIns="144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Open Sans" panose="020B0606030504020204" pitchFamily="34" charset="0"/>
              <a:cs typeface="Segoe UI Semibold" panose="020B0502040204020203" pitchFamily="34" charset="0"/>
            </a:endParaRPr>
          </a:p>
        </p:txBody>
      </p:sp>
      <p:sp>
        <p:nvSpPr>
          <p:cNvPr id="62" name="Freeform 5">
            <a:extLst>
              <a:ext uri="{FF2B5EF4-FFF2-40B4-BE49-F238E27FC236}">
                <a16:creationId xmlns:a16="http://schemas.microsoft.com/office/drawing/2014/main" id="{87D2058E-CD1D-8596-75B0-43335B606F9C}"/>
              </a:ext>
              <a:ext uri="{C183D7F6-B498-43B3-948B-1728B52AA6E4}">
                <adec:decorative xmlns:adec="http://schemas.microsoft.com/office/drawing/2017/decorative" val="1"/>
              </a:ext>
            </a:extLst>
          </p:cNvPr>
          <p:cNvSpPr>
            <a:spLocks noChangeAspect="1"/>
          </p:cNvSpPr>
          <p:nvPr/>
        </p:nvSpPr>
        <p:spPr bwMode="auto">
          <a:xfrm>
            <a:off x="58128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5">
            <a:extLst>
              <a:ext uri="{FF2B5EF4-FFF2-40B4-BE49-F238E27FC236}">
                <a16:creationId xmlns:a16="http://schemas.microsoft.com/office/drawing/2014/main" id="{FA1D90D8-CED9-ED12-E159-982544316049}"/>
              </a:ext>
              <a:ext uri="{C183D7F6-B498-43B3-948B-1728B52AA6E4}">
                <adec:decorative xmlns:adec="http://schemas.microsoft.com/office/drawing/2017/decorative" val="1"/>
              </a:ext>
            </a:extLst>
          </p:cNvPr>
          <p:cNvSpPr>
            <a:spLocks noChangeAspect="1"/>
          </p:cNvSpPr>
          <p:nvPr/>
        </p:nvSpPr>
        <p:spPr bwMode="auto">
          <a:xfrm>
            <a:off x="434419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
            <a:extLst>
              <a:ext uri="{FF2B5EF4-FFF2-40B4-BE49-F238E27FC236}">
                <a16:creationId xmlns:a16="http://schemas.microsoft.com/office/drawing/2014/main" id="{E7C7433F-DA53-0636-3152-77E168543E6E}"/>
              </a:ext>
              <a:ext uri="{C183D7F6-B498-43B3-948B-1728B52AA6E4}">
                <adec:decorative xmlns:adec="http://schemas.microsoft.com/office/drawing/2017/decorative" val="1"/>
              </a:ext>
            </a:extLst>
          </p:cNvPr>
          <p:cNvSpPr>
            <a:spLocks noChangeAspect="1"/>
          </p:cNvSpPr>
          <p:nvPr/>
        </p:nvSpPr>
        <p:spPr bwMode="auto">
          <a:xfrm>
            <a:off x="810710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167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64" presetClass="path" presetSubtype="0" accel="50000" decel="50000" fill="hold" grpId="1" nodeType="withEffect">
                                  <p:stCondLst>
                                    <p:cond delay="0"/>
                                  </p:stCondLst>
                                  <p:childTnLst>
                                    <p:animMotion origin="layout" path="M 3.75E-6 -2.96296E-6 L 3.75E-6 0.01875 " pathEditMode="relative" rAng="0" ptsTypes="AA">
                                      <p:cBhvr>
                                        <p:cTn id="9" dur="500" spd="-100000" fill="hold"/>
                                        <p:tgtEl>
                                          <p:spTgt spid="9"/>
                                        </p:tgtEl>
                                        <p:attrNameLst>
                                          <p:attrName>ppt_x</p:attrName>
                                          <p:attrName>ppt_y</p:attrName>
                                        </p:attrNameLst>
                                      </p:cBhvr>
                                      <p:rCtr x="0" y="926"/>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64" presetClass="path" presetSubtype="0" accel="50000" decel="50000" fill="hold" grpId="1" nodeType="withEffect">
                                  <p:stCondLst>
                                    <p:cond delay="0"/>
                                  </p:stCondLst>
                                  <p:childTnLst>
                                    <p:animMotion origin="layout" path="M 0 4.44444E-6 L 0 0.01875 " pathEditMode="relative" rAng="0" ptsTypes="AA">
                                      <p:cBhvr>
                                        <p:cTn id="14" dur="500" spd="-100000" fill="hold"/>
                                        <p:tgtEl>
                                          <p:spTgt spid="8"/>
                                        </p:tgtEl>
                                        <p:attrNameLst>
                                          <p:attrName>ppt_x</p:attrName>
                                          <p:attrName>ppt_y</p:attrName>
                                        </p:attrNameLst>
                                      </p:cBhvr>
                                      <p:rCtr x="0" y="926"/>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64" presetClass="path" presetSubtype="0" accel="50000" decel="50000" fill="hold" grpId="1" nodeType="withEffect">
                                  <p:stCondLst>
                                    <p:cond delay="0"/>
                                  </p:stCondLst>
                                  <p:childTnLst>
                                    <p:animMotion origin="layout" path="M -3.54167E-6 -2.22222E-6 L -3.54167E-6 0.01875 " pathEditMode="relative" rAng="0" ptsTypes="AA">
                                      <p:cBhvr>
                                        <p:cTn id="19" dur="500" spd="-100000" fill="hold"/>
                                        <p:tgtEl>
                                          <p:spTgt spid="13"/>
                                        </p:tgtEl>
                                        <p:attrNameLst>
                                          <p:attrName>ppt_x</p:attrName>
                                          <p:attrName>ppt_y</p:attrName>
                                        </p:attrNameLst>
                                      </p:cBhvr>
                                      <p:rCtr x="0" y="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8" grpId="0"/>
      <p:bldP spid="8" grpId="1"/>
      <p:bldP spid="13" grpId="0"/>
      <p:bldP spid="1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38A8B-0C3F-6E12-0265-C6649CDAB22B}"/>
              </a:ext>
            </a:extLst>
          </p:cNvPr>
          <p:cNvSpPr>
            <a:spLocks noGrp="1"/>
          </p:cNvSpPr>
          <p:nvPr>
            <p:ph type="title"/>
          </p:nvPr>
        </p:nvSpPr>
        <p:spPr>
          <a:xfrm>
            <a:off x="838200" y="365125"/>
            <a:ext cx="10515600" cy="737343"/>
          </a:xfrm>
        </p:spPr>
        <p:txBody>
          <a:bodyPr/>
          <a:lstStyle/>
          <a:p>
            <a:r>
              <a:rPr lang="en-IE" dirty="0"/>
              <a:t>Feedback</a:t>
            </a:r>
          </a:p>
        </p:txBody>
      </p:sp>
      <p:sp>
        <p:nvSpPr>
          <p:cNvPr id="3" name="Content Placeholder 2">
            <a:extLst>
              <a:ext uri="{FF2B5EF4-FFF2-40B4-BE49-F238E27FC236}">
                <a16:creationId xmlns:a16="http://schemas.microsoft.com/office/drawing/2014/main" id="{3CF346A3-F5B3-D51E-6257-3CD29D4448E9}"/>
              </a:ext>
            </a:extLst>
          </p:cNvPr>
          <p:cNvSpPr>
            <a:spLocks noGrp="1"/>
          </p:cNvSpPr>
          <p:nvPr>
            <p:ph idx="1"/>
          </p:nvPr>
        </p:nvSpPr>
        <p:spPr/>
        <p:txBody>
          <a:bodyPr/>
          <a:lstStyle/>
          <a:p>
            <a:r>
              <a:rPr lang="en-IE" dirty="0"/>
              <a:t>Setup the scenery and the background for the use case</a:t>
            </a:r>
          </a:p>
          <a:p>
            <a:r>
              <a:rPr lang="en-IE" dirty="0"/>
              <a:t>More direction for the presentation </a:t>
            </a:r>
          </a:p>
          <a:p>
            <a:r>
              <a:rPr lang="en-IE" dirty="0"/>
              <a:t>Use case -&gt; technology </a:t>
            </a:r>
          </a:p>
          <a:p>
            <a:endParaRPr lang="en-IE" dirty="0"/>
          </a:p>
          <a:p>
            <a:r>
              <a:rPr lang="en-IE" dirty="0"/>
              <a:t>Brief intro first, scenery, narrative, flow</a:t>
            </a:r>
          </a:p>
          <a:p>
            <a:r>
              <a:rPr lang="en-IE" dirty="0"/>
              <a:t>Then tech demo</a:t>
            </a:r>
          </a:p>
          <a:p>
            <a:r>
              <a:rPr lang="en-IE" dirty="0"/>
              <a:t>Then overview of each service used </a:t>
            </a:r>
          </a:p>
          <a:p>
            <a:r>
              <a:rPr lang="en-IE" dirty="0"/>
              <a:t>Workloads for the services used, </a:t>
            </a:r>
            <a:r>
              <a:rPr lang="en-IE"/>
              <a:t>3 workloads. </a:t>
            </a:r>
            <a:endParaRPr lang="en-IE" dirty="0"/>
          </a:p>
          <a:p>
            <a:endParaRPr lang="en-IE" dirty="0"/>
          </a:p>
          <a:p>
            <a:endParaRPr lang="en-IE" dirty="0"/>
          </a:p>
        </p:txBody>
      </p:sp>
    </p:spTree>
    <p:extLst>
      <p:ext uri="{BB962C8B-B14F-4D97-AF65-F5344CB8AC3E}">
        <p14:creationId xmlns:p14="http://schemas.microsoft.com/office/powerpoint/2010/main" val="2151595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3450271" y="310094"/>
            <a:ext cx="5288345" cy="443198"/>
          </a:xfrm>
        </p:spPr>
        <p:txBody>
          <a:bodyPr/>
          <a:lstStyle/>
          <a:p>
            <a:pPr algn="ctr"/>
            <a:r>
              <a:rPr lang="en-US" spc="-50">
                <a:gradFill flip="none" rotWithShape="1">
                  <a:gsLst>
                    <a:gs pos="12000">
                      <a:srgbClr val="FFFFFF"/>
                    </a:gs>
                    <a:gs pos="100000">
                      <a:srgbClr val="FFFFFF"/>
                    </a:gs>
                  </a:gsLst>
                  <a:lin ang="18900000" scaled="1"/>
                  <a:tileRect/>
                </a:gradFill>
              </a:rPr>
              <a:t>Microsoft Portfolio for AI</a:t>
            </a:r>
            <a:endParaRPr lang="en-US"/>
          </a:p>
        </p:txBody>
      </p:sp>
      <p:pic>
        <p:nvPicPr>
          <p:cNvPr id="19" name="Graphic 18">
            <a:extLst>
              <a:ext uri="{FF2B5EF4-FFF2-40B4-BE49-F238E27FC236}">
                <a16:creationId xmlns:a16="http://schemas.microsoft.com/office/drawing/2014/main" id="{0AFB6990-EA04-4145-8399-2D4F9A65D0B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543677"/>
            <a:ext cx="663236" cy="663236"/>
          </a:xfrm>
          <a:prstGeom prst="rect">
            <a:avLst/>
          </a:prstGeom>
        </p:spPr>
      </p:pic>
      <p:sp>
        <p:nvSpPr>
          <p:cNvPr id="15" name="Content Placeholder 14">
            <a:extLst>
              <a:ext uri="{FF2B5EF4-FFF2-40B4-BE49-F238E27FC236}">
                <a16:creationId xmlns:a16="http://schemas.microsoft.com/office/drawing/2014/main" id="{CF45E9CA-375D-439F-B606-C3ACE980436B}"/>
              </a:ext>
            </a:extLst>
          </p:cNvPr>
          <p:cNvSpPr>
            <a:spLocks noGrp="1"/>
          </p:cNvSpPr>
          <p:nvPr>
            <p:ph sz="quarter" idx="15"/>
          </p:nvPr>
        </p:nvSpPr>
        <p:spPr>
          <a:xfrm>
            <a:off x="519183" y="2187023"/>
            <a:ext cx="977566" cy="395849"/>
          </a:xfrm>
        </p:spPr>
        <p:txBody>
          <a:bodyPr/>
          <a:lstStyle/>
          <a:p>
            <a:pPr lvl="0" algn="ctr" defTabSz="822960">
              <a:lnSpc>
                <a:spcPct val="100000"/>
              </a:lnSpc>
              <a:buSzTx/>
              <a:defRPr/>
            </a:pPr>
            <a:r>
              <a:rPr lang="en-US" sz="1200">
                <a:solidFill>
                  <a:prstClr val="white"/>
                </a:solidFill>
                <a:latin typeface="Segoe UI Semibold"/>
              </a:rPr>
              <a:t>Business Users</a:t>
            </a:r>
          </a:p>
        </p:txBody>
      </p:sp>
      <p:sp>
        <p:nvSpPr>
          <p:cNvPr id="2" name="Content Placeholder 1">
            <a:extLst>
              <a:ext uri="{FF2B5EF4-FFF2-40B4-BE49-F238E27FC236}">
                <a16:creationId xmlns:a16="http://schemas.microsoft.com/office/drawing/2014/main" id="{5663A3CC-09EB-4065-A582-6AB51C5CCA90}"/>
              </a:ext>
            </a:extLst>
          </p:cNvPr>
          <p:cNvSpPr>
            <a:spLocks noGrp="1"/>
          </p:cNvSpPr>
          <p:nvPr>
            <p:ph sz="quarter" idx="10"/>
          </p:nvPr>
        </p:nvSpPr>
        <p:spPr>
          <a:xfrm>
            <a:off x="5770824" y="1103545"/>
            <a:ext cx="1440932" cy="276999"/>
          </a:xfrm>
        </p:spPr>
        <p:txBody>
          <a:bodyPr/>
          <a:lstStyle/>
          <a:p>
            <a:pPr lvl="0" algn="ctr" defTabSz="839225" fontAlgn="base">
              <a:lnSpc>
                <a:spcPct val="100000"/>
              </a:lnSpc>
              <a:spcBef>
                <a:spcPct val="0"/>
              </a:spcBef>
              <a:spcAft>
                <a:spcPct val="0"/>
              </a:spcAft>
              <a:buSzTx/>
              <a:defRPr/>
            </a:pPr>
            <a:r>
              <a:rPr lang="en-US" sz="180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10" name="Content Placeholder 9">
            <a:extLst>
              <a:ext uri="{FF2B5EF4-FFF2-40B4-BE49-F238E27FC236}">
                <a16:creationId xmlns:a16="http://schemas.microsoft.com/office/drawing/2014/main" id="{3E769755-50A4-4345-BC48-5A5177559E7A}"/>
              </a:ext>
            </a:extLst>
          </p:cNvPr>
          <p:cNvSpPr>
            <a:spLocks noGrp="1"/>
          </p:cNvSpPr>
          <p:nvPr>
            <p:ph sz="quarter" idx="11"/>
          </p:nvPr>
        </p:nvSpPr>
        <p:spPr>
          <a:xfrm>
            <a:off x="8533449" y="1529098"/>
            <a:ext cx="1524000" cy="326949"/>
          </a:xfrm>
        </p:spPr>
        <p:txBody>
          <a:bodyPr vert="horz" wrap="square" lIns="0" tIns="0" rIns="0" bIns="0" rtlCol="0" anchor="t">
            <a:spAutoFit/>
          </a:bodyPr>
          <a:lstStyle/>
          <a:p>
            <a:pPr lvl="0" algn="ctr" defTabSz="932742">
              <a:lnSpc>
                <a:spcPct val="70370"/>
              </a:lnSpc>
              <a:buSzTx/>
              <a:defRPr/>
            </a:pPr>
            <a:r>
              <a:rPr lang="en-US" sz="1200" kern="0">
                <a:solidFill>
                  <a:prstClr val="white"/>
                </a:solidFill>
                <a:cs typeface="Arial" charset="0"/>
              </a:rPr>
              <a:t>Partner Solutions (AppSource)</a:t>
            </a:r>
            <a:r>
              <a:rPr lang="en-US" sz="1800" kern="0">
                <a:solidFill>
                  <a:prstClr val="white"/>
                </a:solidFill>
                <a:cs typeface="Arial" charset="0"/>
              </a:rPr>
              <a:t> </a:t>
            </a:r>
            <a:endParaRPr lang="en-US" sz="1800" b="1" kern="0">
              <a:solidFill>
                <a:prstClr val="white"/>
              </a:solidFill>
              <a:cs typeface="Segoe UI Semibold" panose="020B0702040204020203" pitchFamily="34" charset="0"/>
            </a:endParaRPr>
          </a:p>
        </p:txBody>
      </p:sp>
      <p:sp>
        <p:nvSpPr>
          <p:cNvPr id="11" name="Content Placeholder 10">
            <a:extLst>
              <a:ext uri="{FF2B5EF4-FFF2-40B4-BE49-F238E27FC236}">
                <a16:creationId xmlns:a16="http://schemas.microsoft.com/office/drawing/2014/main" id="{29874BAF-B95F-4D66-B6B0-B53795D57F13}"/>
              </a:ext>
            </a:extLst>
          </p:cNvPr>
          <p:cNvSpPr>
            <a:spLocks noGrp="1"/>
          </p:cNvSpPr>
          <p:nvPr>
            <p:ph sz="quarter" idx="12"/>
          </p:nvPr>
        </p:nvSpPr>
        <p:spPr>
          <a:xfrm>
            <a:off x="5536080" y="2066030"/>
            <a:ext cx="1905000" cy="276999"/>
          </a:xfrm>
        </p:spPr>
        <p:txBody>
          <a:bodyPr/>
          <a:lstStyle/>
          <a:p>
            <a:pPr lvl="0" algn="ctr" defTabSz="839225" fontAlgn="base">
              <a:lnSpc>
                <a:spcPct val="100000"/>
              </a:lnSpc>
              <a:spcBef>
                <a:spcPct val="0"/>
              </a:spcBef>
              <a:spcAft>
                <a:spcPct val="0"/>
              </a:spcAft>
              <a:buSzTx/>
              <a:defRPr/>
            </a:pPr>
            <a:r>
              <a:rPr lang="en-US" sz="1800">
                <a:solidFill>
                  <a:srgbClr val="50E6FF"/>
                </a:solidFill>
                <a:latin typeface="Segoe UI Semibold"/>
                <a:ea typeface="+mj-ea"/>
                <a:cs typeface="+mj-cs"/>
              </a:rPr>
              <a:t>Power Platform</a:t>
            </a:r>
          </a:p>
        </p:txBody>
      </p:sp>
      <p:sp>
        <p:nvSpPr>
          <p:cNvPr id="23" name="Content Placeholder 22">
            <a:extLst>
              <a:ext uri="{FF2B5EF4-FFF2-40B4-BE49-F238E27FC236}">
                <a16:creationId xmlns:a16="http://schemas.microsoft.com/office/drawing/2014/main" id="{7AA06852-E3EB-4B4B-A53F-E6576F116583}"/>
              </a:ext>
            </a:extLst>
          </p:cNvPr>
          <p:cNvSpPr>
            <a:spLocks noGrp="1"/>
          </p:cNvSpPr>
          <p:nvPr>
            <p:ph sz="quarter" idx="18"/>
          </p:nvPr>
        </p:nvSpPr>
        <p:spPr>
          <a:xfrm>
            <a:off x="2817993" y="2562416"/>
            <a:ext cx="967790" cy="153888"/>
          </a:xfrm>
        </p:spPr>
        <p:txBody>
          <a:bodyPr/>
          <a:lstStyle/>
          <a:p>
            <a:pPr lvl="0" algn="ctr" defTabSz="932742">
              <a:lnSpc>
                <a:spcPct val="100000"/>
              </a:lnSpc>
              <a:buSzTx/>
              <a:defRPr/>
            </a:pPr>
            <a:r>
              <a:rPr lang="en-US" sz="1000" kern="0">
                <a:solidFill>
                  <a:prstClr val="white"/>
                </a:solidFill>
                <a:cs typeface="Arial" charset="0"/>
              </a:rPr>
              <a:t>Power BI</a:t>
            </a:r>
            <a:endParaRPr lang="en-US" sz="1000" b="1" kern="0">
              <a:solidFill>
                <a:prstClr val="white"/>
              </a:solidFill>
              <a:cs typeface="Segoe UI Semibold" panose="020B0702040204020203" pitchFamily="34" charset="0"/>
            </a:endParaRPr>
          </a:p>
        </p:txBody>
      </p:sp>
      <p:sp>
        <p:nvSpPr>
          <p:cNvPr id="24" name="Content Placeholder 23">
            <a:extLst>
              <a:ext uri="{FF2B5EF4-FFF2-40B4-BE49-F238E27FC236}">
                <a16:creationId xmlns:a16="http://schemas.microsoft.com/office/drawing/2014/main" id="{044777FD-F611-49DD-A53A-1C9E83ED57FF}"/>
              </a:ext>
            </a:extLst>
          </p:cNvPr>
          <p:cNvSpPr>
            <a:spLocks noGrp="1"/>
          </p:cNvSpPr>
          <p:nvPr>
            <p:ph sz="quarter" idx="19"/>
          </p:nvPr>
        </p:nvSpPr>
        <p:spPr>
          <a:xfrm>
            <a:off x="5002993" y="2564970"/>
            <a:ext cx="867219" cy="153888"/>
          </a:xfrm>
        </p:spPr>
        <p:txBody>
          <a:bodyPr/>
          <a:lstStyle/>
          <a:p>
            <a:pPr lvl="0" algn="ctr" defTabSz="932742">
              <a:lnSpc>
                <a:spcPct val="100000"/>
              </a:lnSpc>
              <a:buSzTx/>
              <a:defRPr/>
            </a:pPr>
            <a:r>
              <a:rPr lang="en-US" sz="1000" kern="0">
                <a:solidFill>
                  <a:prstClr val="white"/>
                </a:solidFill>
                <a:cs typeface="Arial" charset="0"/>
              </a:rPr>
              <a:t>Power Apps</a:t>
            </a:r>
            <a:endParaRPr lang="en-US" sz="1000" b="1" kern="0">
              <a:solidFill>
                <a:prstClr val="white"/>
              </a:solidFill>
              <a:cs typeface="Segoe UI Semibold" panose="020B0702040204020203" pitchFamily="34" charset="0"/>
            </a:endParaRPr>
          </a:p>
        </p:txBody>
      </p:sp>
      <p:sp>
        <p:nvSpPr>
          <p:cNvPr id="25" name="Content Placeholder 24">
            <a:extLst>
              <a:ext uri="{FF2B5EF4-FFF2-40B4-BE49-F238E27FC236}">
                <a16:creationId xmlns:a16="http://schemas.microsoft.com/office/drawing/2014/main" id="{E587674C-5CDA-486E-8EEC-D62A74456E57}"/>
              </a:ext>
            </a:extLst>
          </p:cNvPr>
          <p:cNvSpPr>
            <a:spLocks noGrp="1"/>
          </p:cNvSpPr>
          <p:nvPr>
            <p:ph sz="quarter" idx="20"/>
          </p:nvPr>
        </p:nvSpPr>
        <p:spPr>
          <a:xfrm>
            <a:off x="6988726" y="2565304"/>
            <a:ext cx="1133977" cy="153888"/>
          </a:xfrm>
        </p:spPr>
        <p:txBody>
          <a:bodyPr/>
          <a:lstStyle/>
          <a:p>
            <a:pPr lvl="0" algn="ctr" defTabSz="932742">
              <a:lnSpc>
                <a:spcPct val="100000"/>
              </a:lnSpc>
              <a:buSzTx/>
              <a:defRPr/>
            </a:pPr>
            <a:r>
              <a:rPr lang="en-US" sz="1000" kern="0">
                <a:solidFill>
                  <a:prstClr val="white"/>
                </a:solidFill>
                <a:cs typeface="Arial" charset="0"/>
              </a:rPr>
              <a:t>Power Automate</a:t>
            </a:r>
            <a:endParaRPr lang="en-US" sz="1000" b="1" kern="0">
              <a:solidFill>
                <a:prstClr val="white"/>
              </a:solidFill>
              <a:cs typeface="Segoe UI Semibold" panose="020B0702040204020203" pitchFamily="34" charset="0"/>
            </a:endParaRPr>
          </a:p>
        </p:txBody>
      </p:sp>
      <p:sp>
        <p:nvSpPr>
          <p:cNvPr id="26" name="Content Placeholder 25">
            <a:extLst>
              <a:ext uri="{FF2B5EF4-FFF2-40B4-BE49-F238E27FC236}">
                <a16:creationId xmlns:a16="http://schemas.microsoft.com/office/drawing/2014/main" id="{8345072A-2F68-4FA9-B607-0309443B0283}"/>
              </a:ext>
            </a:extLst>
          </p:cNvPr>
          <p:cNvSpPr>
            <a:spLocks noGrp="1"/>
          </p:cNvSpPr>
          <p:nvPr>
            <p:ph sz="quarter" idx="21"/>
          </p:nvPr>
        </p:nvSpPr>
        <p:spPr>
          <a:xfrm>
            <a:off x="8967795" y="2565304"/>
            <a:ext cx="1372112" cy="153888"/>
          </a:xfrm>
        </p:spPr>
        <p:txBody>
          <a:bodyPr/>
          <a:lstStyle/>
          <a:p>
            <a:pPr lvl="0" algn="ctr" defTabSz="932742">
              <a:lnSpc>
                <a:spcPct val="100000"/>
              </a:lnSpc>
              <a:buSzTx/>
              <a:defRPr/>
            </a:pPr>
            <a:r>
              <a:rPr lang="en-US" sz="1000" kern="0">
                <a:solidFill>
                  <a:prstClr val="white"/>
                </a:solidFill>
                <a:cs typeface="Arial" charset="0"/>
              </a:rPr>
              <a:t>Power Virtual Agents</a:t>
            </a:r>
            <a:endParaRPr lang="en-US" sz="1000" b="1" kern="0">
              <a:solidFill>
                <a:prstClr val="white"/>
              </a:solidFill>
              <a:cs typeface="Segoe UI Semibold" panose="020B0702040204020203" pitchFamily="34" charset="0"/>
            </a:endParaRPr>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648" y="4399065"/>
            <a:ext cx="663237" cy="663237"/>
          </a:xfrm>
          <a:prstGeom prst="rect">
            <a:avLst/>
          </a:prstGeom>
        </p:spPr>
      </p:pic>
      <p:sp>
        <p:nvSpPr>
          <p:cNvPr id="18" name="Content Placeholder 17">
            <a:extLst>
              <a:ext uri="{FF2B5EF4-FFF2-40B4-BE49-F238E27FC236}">
                <a16:creationId xmlns:a16="http://schemas.microsoft.com/office/drawing/2014/main" id="{E1C859F7-FE98-41D8-86F4-558B34E3CAF5}"/>
              </a:ext>
            </a:extLst>
          </p:cNvPr>
          <p:cNvSpPr>
            <a:spLocks noGrp="1"/>
          </p:cNvSpPr>
          <p:nvPr>
            <p:ph sz="quarter" idx="16"/>
          </p:nvPr>
        </p:nvSpPr>
        <p:spPr>
          <a:xfrm>
            <a:off x="352398" y="5044840"/>
            <a:ext cx="1259505" cy="369332"/>
          </a:xfrm>
        </p:spPr>
        <p:txBody>
          <a:bodyPr/>
          <a:lstStyle/>
          <a:p>
            <a:pPr lvl="0" algn="ctr" defTabSz="822960">
              <a:lnSpc>
                <a:spcPct val="100000"/>
              </a:lnSpc>
              <a:buSzTx/>
              <a:defRPr/>
            </a:pPr>
            <a:r>
              <a:rPr lang="en-US" sz="1200">
                <a:solidFill>
                  <a:prstClr val="white"/>
                </a:solidFill>
                <a:latin typeface="Segoe UI Semibold"/>
              </a:rPr>
              <a:t>Developers &amp; Data Scientists </a:t>
            </a:r>
          </a:p>
        </p:txBody>
      </p:sp>
      <p:sp>
        <p:nvSpPr>
          <p:cNvPr id="13" name="Content Placeholder 12">
            <a:extLst>
              <a:ext uri="{FF2B5EF4-FFF2-40B4-BE49-F238E27FC236}">
                <a16:creationId xmlns:a16="http://schemas.microsoft.com/office/drawing/2014/main" id="{0959CFCB-DBBB-4094-8C31-438C86A3C374}"/>
              </a:ext>
            </a:extLst>
          </p:cNvPr>
          <p:cNvSpPr>
            <a:spLocks noGrp="1"/>
          </p:cNvSpPr>
          <p:nvPr>
            <p:ph sz="quarter" idx="13"/>
          </p:nvPr>
        </p:nvSpPr>
        <p:spPr>
          <a:xfrm>
            <a:off x="5528027" y="2939676"/>
            <a:ext cx="1905000" cy="276999"/>
          </a:xfrm>
        </p:spPr>
        <p:txBody>
          <a:bodyPr/>
          <a:lstStyle/>
          <a:p>
            <a:pPr marL="0" lvl="1" algn="ctr" defTabSz="839225" fontAlgn="base">
              <a:lnSpc>
                <a:spcPct val="100000"/>
              </a:lnSpc>
              <a:spcBef>
                <a:spcPts val="600"/>
              </a:spcBef>
              <a:spcAft>
                <a:spcPct val="0"/>
              </a:spcAft>
              <a:buSzTx/>
              <a:defRPr/>
            </a:pPr>
            <a:r>
              <a:rPr lang="en-US" sz="1800">
                <a:solidFill>
                  <a:prstClr val="white"/>
                </a:solidFill>
                <a:latin typeface="Segoe UI Semibold"/>
                <a:ea typeface="+mj-ea"/>
                <a:cs typeface="+mj-cs"/>
              </a:rPr>
              <a:t>Azure AI</a:t>
            </a:r>
          </a:p>
        </p:txBody>
      </p:sp>
      <p:sp>
        <p:nvSpPr>
          <p:cNvPr id="14" name="Content Placeholder 13">
            <a:extLst>
              <a:ext uri="{FF2B5EF4-FFF2-40B4-BE49-F238E27FC236}">
                <a16:creationId xmlns:a16="http://schemas.microsoft.com/office/drawing/2014/main" id="{207E33F3-3DBD-4CC2-BAA3-8D9A847B1732}"/>
              </a:ext>
            </a:extLst>
          </p:cNvPr>
          <p:cNvSpPr>
            <a:spLocks noGrp="1"/>
          </p:cNvSpPr>
          <p:nvPr>
            <p:ph sz="quarter" idx="14"/>
          </p:nvPr>
        </p:nvSpPr>
        <p:spPr>
          <a:xfrm>
            <a:off x="5437528" y="3306775"/>
            <a:ext cx="2095500" cy="215444"/>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Azure Applied AI Services</a:t>
            </a:r>
          </a:p>
        </p:txBody>
      </p:sp>
      <p:sp>
        <p:nvSpPr>
          <p:cNvPr id="20" name="Content Placeholder 19">
            <a:extLst>
              <a:ext uri="{FF2B5EF4-FFF2-40B4-BE49-F238E27FC236}">
                <a16:creationId xmlns:a16="http://schemas.microsoft.com/office/drawing/2014/main" id="{FDB61A15-73B6-41B1-89BE-044C7F059F1F}"/>
              </a:ext>
            </a:extLst>
          </p:cNvPr>
          <p:cNvSpPr>
            <a:spLocks noGrp="1"/>
          </p:cNvSpPr>
          <p:nvPr>
            <p:ph sz="quarter" idx="17"/>
          </p:nvPr>
        </p:nvSpPr>
        <p:spPr>
          <a:xfrm>
            <a:off x="2164461" y="3778882"/>
            <a:ext cx="1075323"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Bot Service</a:t>
            </a:r>
          </a:p>
        </p:txBody>
      </p:sp>
      <p:sp>
        <p:nvSpPr>
          <p:cNvPr id="27" name="Content Placeholder 26">
            <a:extLst>
              <a:ext uri="{FF2B5EF4-FFF2-40B4-BE49-F238E27FC236}">
                <a16:creationId xmlns:a16="http://schemas.microsoft.com/office/drawing/2014/main" id="{C033CBA2-12BF-4719-98C2-D28801ACA09A}"/>
              </a:ext>
            </a:extLst>
          </p:cNvPr>
          <p:cNvSpPr>
            <a:spLocks noGrp="1"/>
          </p:cNvSpPr>
          <p:nvPr>
            <p:ph sz="quarter" idx="22"/>
          </p:nvPr>
        </p:nvSpPr>
        <p:spPr>
          <a:xfrm>
            <a:off x="3348991" y="3777084"/>
            <a:ext cx="1079945" cy="191105"/>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Cognitive Search</a:t>
            </a:r>
          </a:p>
        </p:txBody>
      </p:sp>
      <p:sp>
        <p:nvSpPr>
          <p:cNvPr id="28" name="Content Placeholder 27">
            <a:extLst>
              <a:ext uri="{FF2B5EF4-FFF2-40B4-BE49-F238E27FC236}">
                <a16:creationId xmlns:a16="http://schemas.microsoft.com/office/drawing/2014/main" id="{4A4298F5-B5B4-4B95-BBB2-2A3509592093}"/>
              </a:ext>
            </a:extLst>
          </p:cNvPr>
          <p:cNvSpPr>
            <a:spLocks noGrp="1"/>
          </p:cNvSpPr>
          <p:nvPr>
            <p:ph sz="quarter" idx="23"/>
          </p:nvPr>
        </p:nvSpPr>
        <p:spPr>
          <a:xfrm>
            <a:off x="4604161" y="3777419"/>
            <a:ext cx="1171426" cy="196623"/>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Content Moderator</a:t>
            </a:r>
          </a:p>
        </p:txBody>
      </p:sp>
      <p:sp>
        <p:nvSpPr>
          <p:cNvPr id="29" name="Content Placeholder 28">
            <a:extLst>
              <a:ext uri="{FF2B5EF4-FFF2-40B4-BE49-F238E27FC236}">
                <a16:creationId xmlns:a16="http://schemas.microsoft.com/office/drawing/2014/main" id="{26BC0641-4217-4833-947E-116539676D87}"/>
              </a:ext>
            </a:extLst>
          </p:cNvPr>
          <p:cNvSpPr>
            <a:spLocks noGrp="1"/>
          </p:cNvSpPr>
          <p:nvPr>
            <p:ph sz="quarter" idx="24"/>
          </p:nvPr>
        </p:nvSpPr>
        <p:spPr>
          <a:xfrm>
            <a:off x="6005316" y="3776050"/>
            <a:ext cx="958850" cy="307777"/>
          </a:xfrm>
        </p:spPr>
        <p:txBody>
          <a:bodyPr vert="horz" wrap="square" lIns="0" tIns="0" rIns="0" bIns="0" rtlCol="0" anchor="t">
            <a:spAutoFit/>
          </a:bodyPr>
          <a:lstStyle/>
          <a:p>
            <a:pPr algn="ctr" defTabSz="932742">
              <a:lnSpc>
                <a:spcPct val="100000"/>
              </a:lnSpc>
              <a:buSzTx/>
              <a:defRPr/>
            </a:pPr>
            <a:r>
              <a:rPr lang="en-US" sz="1000" kern="0">
                <a:solidFill>
                  <a:prstClr val="white"/>
                </a:solidFill>
                <a:cs typeface="Segoe UI Semibold"/>
              </a:rPr>
              <a:t>Document Intelligence</a:t>
            </a:r>
            <a:endParaRPr lang="en-US" sz="1000" kern="0">
              <a:solidFill>
                <a:prstClr val="white"/>
              </a:solidFill>
              <a:cs typeface="Segoe UI Semibold" panose="020B0702040204020203" pitchFamily="34" charset="0"/>
            </a:endParaRPr>
          </a:p>
        </p:txBody>
      </p:sp>
      <p:sp>
        <p:nvSpPr>
          <p:cNvPr id="30" name="Content Placeholder 29">
            <a:extLst>
              <a:ext uri="{FF2B5EF4-FFF2-40B4-BE49-F238E27FC236}">
                <a16:creationId xmlns:a16="http://schemas.microsoft.com/office/drawing/2014/main" id="{9E4A23ED-E7E4-4461-9548-1AA56A9561E0}"/>
              </a:ext>
            </a:extLst>
          </p:cNvPr>
          <p:cNvSpPr>
            <a:spLocks noGrp="1"/>
          </p:cNvSpPr>
          <p:nvPr>
            <p:ph sz="quarter" idx="25"/>
          </p:nvPr>
        </p:nvSpPr>
        <p:spPr>
          <a:xfrm>
            <a:off x="7288750" y="3775445"/>
            <a:ext cx="873695"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Video Analyzer</a:t>
            </a:r>
          </a:p>
        </p:txBody>
      </p:sp>
      <p:sp>
        <p:nvSpPr>
          <p:cNvPr id="31" name="Content Placeholder 30">
            <a:extLst>
              <a:ext uri="{FF2B5EF4-FFF2-40B4-BE49-F238E27FC236}">
                <a16:creationId xmlns:a16="http://schemas.microsoft.com/office/drawing/2014/main" id="{CA29EAE7-DEC2-4F9F-BBA1-F3E4BFD3803C}"/>
              </a:ext>
            </a:extLst>
          </p:cNvPr>
          <p:cNvSpPr>
            <a:spLocks noGrp="1"/>
          </p:cNvSpPr>
          <p:nvPr>
            <p:ph sz="quarter" idx="26"/>
          </p:nvPr>
        </p:nvSpPr>
        <p:spPr>
          <a:xfrm>
            <a:off x="8497072" y="3776422"/>
            <a:ext cx="943384"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Metrics Advisor</a:t>
            </a:r>
          </a:p>
        </p:txBody>
      </p:sp>
      <p:sp>
        <p:nvSpPr>
          <p:cNvPr id="32" name="Content Placeholder 31">
            <a:extLst>
              <a:ext uri="{FF2B5EF4-FFF2-40B4-BE49-F238E27FC236}">
                <a16:creationId xmlns:a16="http://schemas.microsoft.com/office/drawing/2014/main" id="{7EFB60D7-DCDF-4BCB-A402-A4EAB1E9A226}"/>
              </a:ext>
            </a:extLst>
          </p:cNvPr>
          <p:cNvSpPr>
            <a:spLocks noGrp="1"/>
          </p:cNvSpPr>
          <p:nvPr>
            <p:ph sz="quarter" idx="27"/>
          </p:nvPr>
        </p:nvSpPr>
        <p:spPr>
          <a:xfrm>
            <a:off x="9648157" y="3774120"/>
            <a:ext cx="1122427" cy="153888"/>
          </a:xfrm>
        </p:spPr>
        <p:txBody>
          <a:bodyPr/>
          <a:lstStyle/>
          <a:p>
            <a:pPr lvl="0" algn="ctr">
              <a:lnSpc>
                <a:spcPct val="100000"/>
              </a:lnSpc>
              <a:buSzTx/>
            </a:pPr>
            <a:r>
              <a:rPr lang="en-US" sz="1000">
                <a:solidFill>
                  <a:prstClr val="white"/>
                </a:solidFill>
              </a:rPr>
              <a:t>Immersive Reader </a:t>
            </a:r>
          </a:p>
        </p:txBody>
      </p:sp>
      <p:sp>
        <p:nvSpPr>
          <p:cNvPr id="33" name="Content Placeholder 32">
            <a:extLst>
              <a:ext uri="{FF2B5EF4-FFF2-40B4-BE49-F238E27FC236}">
                <a16:creationId xmlns:a16="http://schemas.microsoft.com/office/drawing/2014/main" id="{46974CB4-5D5F-4A9A-B7D7-EFE5FFDC05C7}"/>
              </a:ext>
            </a:extLst>
          </p:cNvPr>
          <p:cNvSpPr>
            <a:spLocks noGrp="1"/>
          </p:cNvSpPr>
          <p:nvPr>
            <p:ph sz="quarter" idx="28"/>
          </p:nvPr>
        </p:nvSpPr>
        <p:spPr>
          <a:xfrm>
            <a:off x="5388067" y="4231845"/>
            <a:ext cx="2191499" cy="294302"/>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34" name="Content Placeholder 33">
            <a:extLst>
              <a:ext uri="{FF2B5EF4-FFF2-40B4-BE49-F238E27FC236}">
                <a16:creationId xmlns:a16="http://schemas.microsoft.com/office/drawing/2014/main" id="{AA82FCFA-7B2A-4B42-9EC3-DEFB3E2DFC7C}"/>
              </a:ext>
            </a:extLst>
          </p:cNvPr>
          <p:cNvSpPr>
            <a:spLocks noGrp="1"/>
          </p:cNvSpPr>
          <p:nvPr>
            <p:ph sz="quarter" idx="29"/>
          </p:nvPr>
        </p:nvSpPr>
        <p:spPr>
          <a:xfrm>
            <a:off x="5708128" y="4540192"/>
            <a:ext cx="1552606" cy="231236"/>
          </a:xfrm>
        </p:spPr>
        <p:txBody>
          <a:bodyPr/>
          <a:lstStyle/>
          <a:p>
            <a:pPr lvl="0" algn="ctr" defTabSz="822960">
              <a:lnSpc>
                <a:spcPct val="100000"/>
              </a:lnSpc>
              <a:buSzTx/>
              <a:defRPr/>
            </a:pPr>
            <a:r>
              <a:rPr lang="en-US" sz="1100" kern="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8" name="Group 7">
            <a:extLst>
              <a:ext uri="{FF2B5EF4-FFF2-40B4-BE49-F238E27FC236}">
                <a16:creationId xmlns:a16="http://schemas.microsoft.com/office/drawing/2014/main" id="{EE2CEF26-F8EF-4CB6-9275-45543F1B947E}"/>
              </a:ext>
              <a:ext uri="{C183D7F6-B498-43B3-948B-1728B52AA6E4}">
                <adec:decorative xmlns:adec="http://schemas.microsoft.com/office/drawing/2017/decorative" val="1"/>
              </a:ext>
            </a:extLst>
          </p:cNvPr>
          <p:cNvGrpSpPr/>
          <p:nvPr/>
        </p:nvGrpSpPr>
        <p:grpSpPr>
          <a:xfrm>
            <a:off x="3248428" y="4604827"/>
            <a:ext cx="366666" cy="451139"/>
            <a:chOff x="3082291" y="4430496"/>
            <a:chExt cx="366666" cy="451139"/>
          </a:xfrm>
        </p:grpSpPr>
        <p:sp>
          <p:nvSpPr>
            <p:cNvPr id="341" name="Freeform: Shape 340">
              <a:extLst>
                <a:ext uri="{FF2B5EF4-FFF2-40B4-BE49-F238E27FC236}">
                  <a16:creationId xmlns:a16="http://schemas.microsoft.com/office/drawing/2014/main" id="{7678D8B6-B87F-4E23-8716-0680D0403997}"/>
                </a:ext>
                <a:ext uri="{C183D7F6-B498-43B3-948B-1728B52AA6E4}">
                  <adec:decorative xmlns:adec="http://schemas.microsoft.com/office/drawing/2017/decorative" val="1"/>
                </a:ext>
              </a:extLst>
            </p:cNvPr>
            <p:cNvSpPr/>
            <p:nvPr/>
          </p:nvSpPr>
          <p:spPr bwMode="auto">
            <a:xfrm rot="5400000">
              <a:off x="3085650" y="4552667"/>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Freeform: Shape 341">
              <a:extLst>
                <a:ext uri="{FF2B5EF4-FFF2-40B4-BE49-F238E27FC236}">
                  <a16:creationId xmlns:a16="http://schemas.microsoft.com/office/drawing/2014/main" id="{18A14BE9-9E34-42C6-ABDC-97A2382DF980}"/>
                </a:ext>
                <a:ext uri="{C183D7F6-B498-43B3-948B-1728B52AA6E4}">
                  <adec:decorative xmlns:adec="http://schemas.microsoft.com/office/drawing/2017/decorative" val="1"/>
                </a:ext>
              </a:extLst>
            </p:cNvPr>
            <p:cNvSpPr/>
            <p:nvPr/>
          </p:nvSpPr>
          <p:spPr bwMode="auto">
            <a:xfrm rot="16200000" flipV="1">
              <a:off x="3085650" y="4831156"/>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Shape 342">
              <a:extLst>
                <a:ext uri="{FF2B5EF4-FFF2-40B4-BE49-F238E27FC236}">
                  <a16:creationId xmlns:a16="http://schemas.microsoft.com/office/drawing/2014/main" id="{46A4D122-B609-4EFD-A505-35B8F1D68535}"/>
                </a:ext>
                <a:ext uri="{C183D7F6-B498-43B3-948B-1728B52AA6E4}">
                  <adec:decorative xmlns:adec="http://schemas.microsoft.com/office/drawing/2017/decorative" val="1"/>
                </a:ext>
              </a:extLst>
            </p:cNvPr>
            <p:cNvSpPr/>
            <p:nvPr/>
          </p:nvSpPr>
          <p:spPr bwMode="auto">
            <a:xfrm rot="16200000" flipH="1">
              <a:off x="3398478" y="4552667"/>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Freeform: Shape 343">
              <a:extLst>
                <a:ext uri="{FF2B5EF4-FFF2-40B4-BE49-F238E27FC236}">
                  <a16:creationId xmlns:a16="http://schemas.microsoft.com/office/drawing/2014/main" id="{736C6B23-73B3-4401-83EF-CD761B96DCD8}"/>
                </a:ext>
                <a:ext uri="{C183D7F6-B498-43B3-948B-1728B52AA6E4}">
                  <adec:decorative xmlns:adec="http://schemas.microsoft.com/office/drawing/2017/decorative" val="1"/>
                </a:ext>
              </a:extLst>
            </p:cNvPr>
            <p:cNvSpPr/>
            <p:nvPr/>
          </p:nvSpPr>
          <p:spPr bwMode="auto">
            <a:xfrm rot="5400000" flipH="1" flipV="1">
              <a:off x="3398478" y="4831156"/>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2" name="Straight Connector 321">
              <a:extLst>
                <a:ext uri="{FF2B5EF4-FFF2-40B4-BE49-F238E27FC236}">
                  <a16:creationId xmlns:a16="http://schemas.microsoft.com/office/drawing/2014/main" id="{19D763CF-837F-4D57-8ECC-410B36B7B28E}"/>
                </a:ext>
                <a:ext uri="{C183D7F6-B498-43B3-948B-1728B52AA6E4}">
                  <adec:decorative xmlns:adec="http://schemas.microsoft.com/office/drawing/2017/decorative" val="1"/>
                </a:ext>
              </a:extLst>
            </p:cNvPr>
            <p:cNvCxnSpPr>
              <a:cxnSpLocks/>
            </p:cNvCxnSpPr>
            <p:nvPr/>
          </p:nvCxnSpPr>
          <p:spPr>
            <a:xfrm>
              <a:off x="3258143" y="4775829"/>
              <a:ext cx="216" cy="50980"/>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961923B9-ADBC-465D-B2DC-CA7E635C78E4}"/>
                </a:ext>
                <a:ext uri="{C183D7F6-B498-43B3-948B-1728B52AA6E4}">
                  <adec:decorative xmlns:adec="http://schemas.microsoft.com/office/drawing/2017/decorative" val="1"/>
                </a:ext>
              </a:extLst>
            </p:cNvPr>
            <p:cNvCxnSpPr>
              <a:cxnSpLocks/>
              <a:endCxn id="334" idx="2"/>
            </p:cNvCxnSpPr>
            <p:nvPr/>
          </p:nvCxnSpPr>
          <p:spPr>
            <a:xfrm>
              <a:off x="3264623" y="4430496"/>
              <a:ext cx="20418" cy="10224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B49BBC7-165F-4E7A-84A3-8BB2EB249783}"/>
                </a:ext>
                <a:ext uri="{C183D7F6-B498-43B3-948B-1728B52AA6E4}">
                  <adec:decorative xmlns:adec="http://schemas.microsoft.com/office/drawing/2017/decorative" val="1"/>
                </a:ext>
              </a:extLst>
            </p:cNvPr>
            <p:cNvCxnSpPr>
              <a:cxnSpLocks/>
              <a:stCxn id="339" idx="1"/>
            </p:cNvCxnSpPr>
            <p:nvPr/>
          </p:nvCxnSpPr>
          <p:spPr>
            <a:xfrm flipH="1">
              <a:off x="3194946" y="4460018"/>
              <a:ext cx="153139" cy="1263"/>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6A539854-B6C2-492E-BCD0-51F8958B9619}"/>
                </a:ext>
                <a:ext uri="{C183D7F6-B498-43B3-948B-1728B52AA6E4}">
                  <adec:decorative xmlns:adec="http://schemas.microsoft.com/office/drawing/2017/decorative" val="1"/>
                </a:ext>
              </a:extLst>
            </p:cNvPr>
            <p:cNvCxnSpPr>
              <a:cxnSpLocks/>
              <a:stCxn id="334" idx="0"/>
              <a:endCxn id="340" idx="2"/>
            </p:cNvCxnSpPr>
            <p:nvPr/>
          </p:nvCxnSpPr>
          <p:spPr>
            <a:xfrm flipH="1" flipV="1">
              <a:off x="3178049" y="4660790"/>
              <a:ext cx="106992" cy="27094"/>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3478E4F9-BD1D-45B1-94E6-4417D94F44B8}"/>
                </a:ext>
                <a:ext uri="{C183D7F6-B498-43B3-948B-1728B52AA6E4}">
                  <adec:decorative xmlns:adec="http://schemas.microsoft.com/office/drawing/2017/decorative" val="1"/>
                </a:ext>
              </a:extLst>
            </p:cNvPr>
            <p:cNvCxnSpPr>
              <a:cxnSpLocks/>
            </p:cNvCxnSpPr>
            <p:nvPr/>
          </p:nvCxnSpPr>
          <p:spPr>
            <a:xfrm flipV="1">
              <a:off x="3285040" y="4650496"/>
              <a:ext cx="56304" cy="18584"/>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2C0FB837-0F83-49E7-82FC-6458874DAE8A}"/>
                </a:ext>
                <a:ext uri="{C183D7F6-B498-43B3-948B-1728B52AA6E4}">
                  <adec:decorative xmlns:adec="http://schemas.microsoft.com/office/drawing/2017/decorative" val="1"/>
                </a:ext>
              </a:extLst>
            </p:cNvPr>
            <p:cNvCxnSpPr>
              <a:cxnSpLocks/>
            </p:cNvCxnSpPr>
            <p:nvPr/>
          </p:nvCxnSpPr>
          <p:spPr>
            <a:xfrm flipH="1">
              <a:off x="3182282" y="4699640"/>
              <a:ext cx="61764" cy="335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38970026-6843-4BB8-AA77-B633449FFFD3}"/>
                </a:ext>
                <a:ext uri="{C183D7F6-B498-43B3-948B-1728B52AA6E4}">
                  <adec:decorative xmlns:adec="http://schemas.microsoft.com/office/drawing/2017/decorative" val="1"/>
                </a:ext>
              </a:extLst>
            </p:cNvPr>
            <p:cNvCxnSpPr>
              <a:cxnSpLocks/>
            </p:cNvCxnSpPr>
            <p:nvPr/>
          </p:nvCxnSpPr>
          <p:spPr>
            <a:xfrm>
              <a:off x="3279580" y="4701625"/>
              <a:ext cx="61764" cy="335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55788994-9CD4-47D2-B293-E2AB9276AF48}"/>
                </a:ext>
                <a:ext uri="{C183D7F6-B498-43B3-948B-1728B52AA6E4}">
                  <adec:decorative xmlns:adec="http://schemas.microsoft.com/office/drawing/2017/decorative" val="1"/>
                </a:ext>
              </a:extLst>
            </p:cNvPr>
            <p:cNvCxnSpPr>
              <a:cxnSpLocks/>
              <a:stCxn id="333" idx="1"/>
            </p:cNvCxnSpPr>
            <p:nvPr/>
          </p:nvCxnSpPr>
          <p:spPr>
            <a:xfrm flipH="1" flipV="1">
              <a:off x="3189997" y="4570013"/>
              <a:ext cx="61764" cy="14030"/>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02326957-6777-4903-8E44-5057C0CE273C}"/>
                </a:ext>
                <a:ext uri="{C183D7F6-B498-43B3-948B-1728B52AA6E4}">
                  <adec:decorative xmlns:adec="http://schemas.microsoft.com/office/drawing/2017/decorative" val="1"/>
                </a:ext>
              </a:extLst>
            </p:cNvPr>
            <p:cNvCxnSpPr>
              <a:cxnSpLocks/>
              <a:stCxn id="333" idx="3"/>
            </p:cNvCxnSpPr>
            <p:nvPr/>
          </p:nvCxnSpPr>
          <p:spPr>
            <a:xfrm flipV="1">
              <a:off x="3285556" y="4571997"/>
              <a:ext cx="63504" cy="120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2" name="Rectangle 331">
              <a:extLst>
                <a:ext uri="{FF2B5EF4-FFF2-40B4-BE49-F238E27FC236}">
                  <a16:creationId xmlns:a16="http://schemas.microsoft.com/office/drawing/2014/main" id="{327B4DC0-6B65-4E35-8F52-3CF3805D747E}"/>
                </a:ext>
                <a:ext uri="{C183D7F6-B498-43B3-948B-1728B52AA6E4}">
                  <adec:decorative xmlns:adec="http://schemas.microsoft.com/office/drawing/2017/decorative" val="1"/>
                </a:ext>
              </a:extLst>
            </p:cNvPr>
            <p:cNvSpPr/>
            <p:nvPr/>
          </p:nvSpPr>
          <p:spPr bwMode="auto">
            <a:xfrm>
              <a:off x="3258961" y="4834756"/>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3" name="Rectangle 332">
              <a:extLst>
                <a:ext uri="{FF2B5EF4-FFF2-40B4-BE49-F238E27FC236}">
                  <a16:creationId xmlns:a16="http://schemas.microsoft.com/office/drawing/2014/main" id="{90CC798C-8DB7-4377-8DC8-BA31A8B9856D}"/>
                </a:ext>
                <a:ext uri="{C183D7F6-B498-43B3-948B-1728B52AA6E4}">
                  <adec:decorative xmlns:adec="http://schemas.microsoft.com/office/drawing/2017/decorative" val="1"/>
                </a:ext>
              </a:extLst>
            </p:cNvPr>
            <p:cNvSpPr/>
            <p:nvPr/>
          </p:nvSpPr>
          <p:spPr bwMode="auto">
            <a:xfrm>
              <a:off x="3251761" y="4753973"/>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4" name="Rectangle 333">
              <a:extLst>
                <a:ext uri="{FF2B5EF4-FFF2-40B4-BE49-F238E27FC236}">
                  <a16:creationId xmlns:a16="http://schemas.microsoft.com/office/drawing/2014/main" id="{D390DD05-9FE9-4365-85EC-19BDF75241A0}"/>
                </a:ext>
                <a:ext uri="{C183D7F6-B498-43B3-948B-1728B52AA6E4}">
                  <adec:decorative xmlns:adec="http://schemas.microsoft.com/office/drawing/2017/decorative" val="1"/>
                </a:ext>
              </a:extLst>
            </p:cNvPr>
            <p:cNvSpPr/>
            <p:nvPr/>
          </p:nvSpPr>
          <p:spPr bwMode="auto">
            <a:xfrm>
              <a:off x="3268143" y="4687884"/>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5" name="Rectangle 334">
              <a:extLst>
                <a:ext uri="{FF2B5EF4-FFF2-40B4-BE49-F238E27FC236}">
                  <a16:creationId xmlns:a16="http://schemas.microsoft.com/office/drawing/2014/main" id="{32F7976B-974F-4E8E-91BA-2BBC84766075}"/>
                </a:ext>
                <a:ext uri="{C183D7F6-B498-43B3-948B-1728B52AA6E4}">
                  <adec:decorative xmlns:adec="http://schemas.microsoft.com/office/drawing/2017/decorative" val="1"/>
                </a:ext>
              </a:extLst>
            </p:cNvPr>
            <p:cNvSpPr/>
            <p:nvPr/>
          </p:nvSpPr>
          <p:spPr bwMode="auto">
            <a:xfrm>
              <a:off x="3348085" y="4740229"/>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6" name="Rectangle 335">
              <a:extLst>
                <a:ext uri="{FF2B5EF4-FFF2-40B4-BE49-F238E27FC236}">
                  <a16:creationId xmlns:a16="http://schemas.microsoft.com/office/drawing/2014/main" id="{3F390543-43BC-4A75-90D4-43E97295B41A}"/>
                </a:ext>
                <a:ext uri="{C183D7F6-B498-43B3-948B-1728B52AA6E4}">
                  <adec:decorative xmlns:adec="http://schemas.microsoft.com/office/drawing/2017/decorative" val="1"/>
                </a:ext>
              </a:extLst>
            </p:cNvPr>
            <p:cNvSpPr/>
            <p:nvPr/>
          </p:nvSpPr>
          <p:spPr bwMode="auto">
            <a:xfrm>
              <a:off x="3161151" y="4739995"/>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Rectangle 337">
              <a:extLst>
                <a:ext uri="{FF2B5EF4-FFF2-40B4-BE49-F238E27FC236}">
                  <a16:creationId xmlns:a16="http://schemas.microsoft.com/office/drawing/2014/main" id="{0529EF79-F1C6-4E43-9285-E6229B1DCC50}"/>
                </a:ext>
                <a:ext uri="{C183D7F6-B498-43B3-948B-1728B52AA6E4}">
                  <adec:decorative xmlns:adec="http://schemas.microsoft.com/office/drawing/2017/decorative" val="1"/>
                </a:ext>
              </a:extLst>
            </p:cNvPr>
            <p:cNvSpPr/>
            <p:nvPr/>
          </p:nvSpPr>
          <p:spPr bwMode="auto">
            <a:xfrm>
              <a:off x="3251761" y="4579480"/>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9" name="Rectangle 338">
              <a:extLst>
                <a:ext uri="{FF2B5EF4-FFF2-40B4-BE49-F238E27FC236}">
                  <a16:creationId xmlns:a16="http://schemas.microsoft.com/office/drawing/2014/main" id="{A8B79C75-AF01-4FC1-88F0-CAAD3275C37B}"/>
                </a:ext>
                <a:ext uri="{C183D7F6-B498-43B3-948B-1728B52AA6E4}">
                  <adec:decorative xmlns:adec="http://schemas.microsoft.com/office/drawing/2017/decorative" val="1"/>
                </a:ext>
              </a:extLst>
            </p:cNvPr>
            <p:cNvSpPr/>
            <p:nvPr/>
          </p:nvSpPr>
          <p:spPr bwMode="auto">
            <a:xfrm>
              <a:off x="3348085" y="4629948"/>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7768C188-D5A7-4E59-A0CB-0EA7E0756DBB}"/>
                </a:ext>
                <a:ext uri="{C183D7F6-B498-43B3-948B-1728B52AA6E4}">
                  <adec:decorative xmlns:adec="http://schemas.microsoft.com/office/drawing/2017/decorative" val="1"/>
                </a:ext>
              </a:extLst>
            </p:cNvPr>
            <p:cNvSpPr/>
            <p:nvPr/>
          </p:nvSpPr>
          <p:spPr bwMode="auto">
            <a:xfrm>
              <a:off x="3161151" y="4631212"/>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5" name="Content Placeholder 34">
            <a:extLst>
              <a:ext uri="{FF2B5EF4-FFF2-40B4-BE49-F238E27FC236}">
                <a16:creationId xmlns:a16="http://schemas.microsoft.com/office/drawing/2014/main" id="{BE7D3869-188D-45F7-89F6-AF4DF1DC6B8B}"/>
              </a:ext>
              <a:ext uri="{C183D7F6-B498-43B3-948B-1728B52AA6E4}">
                <adec:decorative xmlns:adec="http://schemas.microsoft.com/office/drawing/2017/decorative" val="0"/>
              </a:ext>
            </a:extLst>
          </p:cNvPr>
          <p:cNvSpPr>
            <a:spLocks noGrp="1"/>
          </p:cNvSpPr>
          <p:nvPr>
            <p:ph sz="quarter" idx="30"/>
          </p:nvPr>
        </p:nvSpPr>
        <p:spPr>
          <a:xfrm>
            <a:off x="3214737" y="5187036"/>
            <a:ext cx="41908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Vision</a:t>
            </a:r>
            <a:endParaRPr lang="en-US" sz="1000" kern="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296029" y="4742558"/>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6" name="Content Placeholder 35">
            <a:extLst>
              <a:ext uri="{FF2B5EF4-FFF2-40B4-BE49-F238E27FC236}">
                <a16:creationId xmlns:a16="http://schemas.microsoft.com/office/drawing/2014/main" id="{7DF04849-D6DE-4C12-8C31-A67393B83169}"/>
              </a:ext>
            </a:extLst>
          </p:cNvPr>
          <p:cNvSpPr>
            <a:spLocks noGrp="1"/>
          </p:cNvSpPr>
          <p:nvPr>
            <p:ph sz="quarter" idx="31"/>
          </p:nvPr>
        </p:nvSpPr>
        <p:spPr>
          <a:xfrm>
            <a:off x="5213545" y="5185805"/>
            <a:ext cx="56614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Speech</a:t>
            </a:r>
            <a:endParaRPr lang="en-US" sz="1000" kern="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3980" y="4753718"/>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 name="Content Placeholder 38">
            <a:extLst>
              <a:ext uri="{FF2B5EF4-FFF2-40B4-BE49-F238E27FC236}">
                <a16:creationId xmlns:a16="http://schemas.microsoft.com/office/drawing/2014/main" id="{806B276D-EF5E-4553-94C9-444BA34CCFC2}"/>
              </a:ext>
              <a:ext uri="{C183D7F6-B498-43B3-948B-1728B52AA6E4}">
                <adec:decorative xmlns:adec="http://schemas.microsoft.com/office/drawing/2017/decorative" val="0"/>
              </a:ext>
            </a:extLst>
          </p:cNvPr>
          <p:cNvSpPr>
            <a:spLocks noGrp="1"/>
          </p:cNvSpPr>
          <p:nvPr>
            <p:ph sz="quarter" idx="33"/>
          </p:nvPr>
        </p:nvSpPr>
        <p:spPr>
          <a:xfrm>
            <a:off x="7244067" y="5187108"/>
            <a:ext cx="64652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Language</a:t>
            </a:r>
            <a:endParaRPr lang="en-US" sz="1000" kern="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0629" y="4756046"/>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8" name="Content Placeholder 37">
            <a:extLst>
              <a:ext uri="{FF2B5EF4-FFF2-40B4-BE49-F238E27FC236}">
                <a16:creationId xmlns:a16="http://schemas.microsoft.com/office/drawing/2014/main" id="{52793BC9-3EDB-41BB-9A69-BF12D8C0AE85}"/>
              </a:ext>
              <a:ext uri="{C183D7F6-B498-43B3-948B-1728B52AA6E4}">
                <adec:decorative xmlns:adec="http://schemas.microsoft.com/office/drawing/2017/decorative" val="0"/>
              </a:ext>
            </a:extLst>
          </p:cNvPr>
          <p:cNvSpPr>
            <a:spLocks noGrp="1"/>
          </p:cNvSpPr>
          <p:nvPr>
            <p:ph sz="quarter" idx="32"/>
          </p:nvPr>
        </p:nvSpPr>
        <p:spPr>
          <a:xfrm>
            <a:off x="9345443" y="5186122"/>
            <a:ext cx="582713" cy="153888"/>
          </a:xfrm>
        </p:spPr>
        <p:txBody>
          <a:bodyPr/>
          <a:lstStyle/>
          <a:p>
            <a:pPr lvl="0" algn="ctr">
              <a:lnSpc>
                <a:spcPct val="100000"/>
              </a:lnSpc>
              <a:buSzTx/>
            </a:pPr>
            <a:r>
              <a:rPr lang="en-US" sz="1000">
                <a:solidFill>
                  <a:prstClr val="white"/>
                </a:solidFill>
              </a:rPr>
              <a:t>Decision</a:t>
            </a:r>
          </a:p>
        </p:txBody>
      </p:sp>
      <p:sp>
        <p:nvSpPr>
          <p:cNvPr id="40" name="Content Placeholder 39">
            <a:extLst>
              <a:ext uri="{FF2B5EF4-FFF2-40B4-BE49-F238E27FC236}">
                <a16:creationId xmlns:a16="http://schemas.microsoft.com/office/drawing/2014/main" id="{9D202050-7AA1-441F-AA17-CD55A71E8CAF}"/>
              </a:ext>
            </a:extLst>
          </p:cNvPr>
          <p:cNvSpPr>
            <a:spLocks noGrp="1"/>
          </p:cNvSpPr>
          <p:nvPr>
            <p:ph sz="quarter" idx="34"/>
          </p:nvPr>
        </p:nvSpPr>
        <p:spPr>
          <a:xfrm>
            <a:off x="5838384" y="5546908"/>
            <a:ext cx="1293812" cy="215444"/>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ML Platform</a:t>
            </a:r>
          </a:p>
        </p:txBody>
      </p:sp>
      <p:pic>
        <p:nvPicPr>
          <p:cNvPr id="16" name="Graphic 15" descr="Azure Machine Learning logo">
            <a:extLst>
              <a:ext uri="{FF2B5EF4-FFF2-40B4-BE49-F238E27FC236}">
                <a16:creationId xmlns:a16="http://schemas.microsoft.com/office/drawing/2014/main" id="{CD8033DD-92FB-46DD-90BF-E7E7AB0A8C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6044" y="5837535"/>
            <a:ext cx="371251" cy="371251"/>
          </a:xfrm>
          <a:prstGeom prst="rect">
            <a:avLst/>
          </a:prstGeom>
        </p:spPr>
      </p:pic>
      <p:sp>
        <p:nvSpPr>
          <p:cNvPr id="41" name="Content Placeholder 40">
            <a:extLst>
              <a:ext uri="{FF2B5EF4-FFF2-40B4-BE49-F238E27FC236}">
                <a16:creationId xmlns:a16="http://schemas.microsoft.com/office/drawing/2014/main" id="{251FC355-D65D-4982-B68F-F4D878175844}"/>
              </a:ext>
            </a:extLst>
          </p:cNvPr>
          <p:cNvSpPr>
            <a:spLocks noGrp="1"/>
          </p:cNvSpPr>
          <p:nvPr>
            <p:ph sz="quarter" idx="35"/>
          </p:nvPr>
        </p:nvSpPr>
        <p:spPr>
          <a:xfrm>
            <a:off x="5820442" y="6278078"/>
            <a:ext cx="1340175" cy="138499"/>
          </a:xfrm>
        </p:spPr>
        <p:txBody>
          <a:bodyPr/>
          <a:lstStyle/>
          <a:p>
            <a:pPr lvl="0" algn="ctr" defTabSz="932742">
              <a:lnSpc>
                <a:spcPct val="100000"/>
              </a:lnSpc>
              <a:buSzTx/>
              <a:defRPr/>
            </a:pPr>
            <a:r>
              <a:rPr lang="en-US" sz="900" b="1" kern="0">
                <a:solidFill>
                  <a:prstClr val="white"/>
                </a:solidFill>
                <a:latin typeface="Segoe UI Semibold" panose="020B0702040204020203" pitchFamily="34" charset="0"/>
                <a:cs typeface="Segoe UI Semibold" panose="020B0702040204020203" pitchFamily="34" charset="0"/>
              </a:rPr>
              <a:t>Azure Machine Learning</a:t>
            </a:r>
          </a:p>
        </p:txBody>
      </p:sp>
    </p:spTree>
    <p:extLst>
      <p:ext uri="{BB962C8B-B14F-4D97-AF65-F5344CB8AC3E}">
        <p14:creationId xmlns:p14="http://schemas.microsoft.com/office/powerpoint/2010/main" val="1531423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 name="Picture Placeholder 19">
            <a:extLst>
              <a:ext uri="{FF2B5EF4-FFF2-40B4-BE49-F238E27FC236}">
                <a16:creationId xmlns:a16="http://schemas.microsoft.com/office/drawing/2014/main" id="{1BA91557-58E5-4B48-8291-E41488642B0A}"/>
              </a:ext>
            </a:extLst>
          </p:cNvPr>
          <p:cNvPicPr>
            <a:picLocks noGrp="1" noChangeAspect="1"/>
          </p:cNvPicPr>
          <p:nvPr>
            <p:ph type="pic" sz="quarter" idx="15"/>
          </p:nvPr>
        </p:nvPicPr>
        <p:blipFill rotWithShape="1">
          <a:blip r:embed="rId3" cstate="screen">
            <a:duotone>
              <a:prstClr val="black"/>
              <a:schemeClr val="accent3">
                <a:tint val="45000"/>
                <a:satMod val="400000"/>
              </a:schemeClr>
            </a:duotone>
            <a:alphaModFix amt="35000"/>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a:ext>
            </a:extLst>
          </a:blip>
          <a:srcRect l="43" r="43"/>
          <a:stretch/>
        </p:blipFill>
        <p:spPr>
          <a:xfrm>
            <a:off x="5886450" y="54482"/>
            <a:ext cx="6209012" cy="6140379"/>
          </a:xfrm>
          <a:solidFill>
            <a:schemeClr val="bg1"/>
          </a:solidFill>
        </p:spPr>
      </p:pic>
      <p:sp>
        <p:nvSpPr>
          <p:cNvPr id="4" name="Title 3">
            <a:extLst>
              <a:ext uri="{FF2B5EF4-FFF2-40B4-BE49-F238E27FC236}">
                <a16:creationId xmlns:a16="http://schemas.microsoft.com/office/drawing/2014/main" id="{8F178B6F-BB35-4DEE-91BA-2D909ECC9A2D}"/>
              </a:ext>
            </a:extLst>
          </p:cNvPr>
          <p:cNvSpPr>
            <a:spLocks noGrp="1"/>
          </p:cNvSpPr>
          <p:nvPr>
            <p:ph type="title"/>
          </p:nvPr>
        </p:nvSpPr>
        <p:spPr>
          <a:xfrm>
            <a:off x="584199" y="585788"/>
            <a:ext cx="4661048" cy="307777"/>
          </a:xfrm>
        </p:spPr>
        <p:txBody>
          <a:bodyPr/>
          <a:lstStyle/>
          <a:p>
            <a:r>
              <a:rPr lang="en-US">
                <a:solidFill>
                  <a:srgbClr val="00B0F0"/>
                </a:solidFill>
                <a:cs typeface="Segoe UI"/>
              </a:rPr>
              <a:t>Cognitive Service for Language</a:t>
            </a:r>
          </a:p>
        </p:txBody>
      </p:sp>
      <p:sp>
        <p:nvSpPr>
          <p:cNvPr id="13" name="Slide Number Placeholder 12">
            <a:extLst>
              <a:ext uri="{FF2B5EF4-FFF2-40B4-BE49-F238E27FC236}">
                <a16:creationId xmlns:a16="http://schemas.microsoft.com/office/drawing/2014/main" id="{37D8B0EB-806B-4D57-9966-1AC107D3E899}"/>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29E13-12ED-4A70-BF1D-33B45D2E66B2}" type="slidenum">
              <a:rPr kumimoji="0" lang="en-US" sz="900" b="0" i="0" u="none" strike="noStrike" kern="1200" cap="none" spc="0" normalizeH="0" baseline="0" noProof="0" smtClean="0">
                <a:ln>
                  <a:noFill/>
                </a:ln>
                <a:solidFill>
                  <a:srgbClr val="000000">
                    <a:alpha val="50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alpha val="50000"/>
                </a:srgbClr>
              </a:solidFill>
              <a:effectLst/>
              <a:uLnTx/>
              <a:uFillTx/>
              <a:latin typeface="Segoe UI"/>
              <a:ea typeface="+mn-ea"/>
              <a:cs typeface="+mn-cs"/>
            </a:endParaRPr>
          </a:p>
        </p:txBody>
      </p:sp>
      <p:sp>
        <p:nvSpPr>
          <p:cNvPr id="5" name="Text Placeholder 4">
            <a:extLst>
              <a:ext uri="{FF2B5EF4-FFF2-40B4-BE49-F238E27FC236}">
                <a16:creationId xmlns:a16="http://schemas.microsoft.com/office/drawing/2014/main" id="{5E887CDE-3294-4606-9652-280F922BD8C7}"/>
              </a:ext>
            </a:extLst>
          </p:cNvPr>
          <p:cNvSpPr>
            <a:spLocks noGrp="1"/>
          </p:cNvSpPr>
          <p:nvPr>
            <p:ph type="body" sz="quarter" idx="14"/>
          </p:nvPr>
        </p:nvSpPr>
        <p:spPr>
          <a:xfrm>
            <a:off x="560088" y="1532963"/>
            <a:ext cx="4892742" cy="3720222"/>
          </a:xfrm>
        </p:spPr>
        <p:txBody>
          <a:bodyPr/>
          <a:lstStyle/>
          <a:p>
            <a:pPr lvl="1"/>
            <a:r>
              <a:rPr lang="en-US">
                <a:solidFill>
                  <a:schemeClr val="tx1"/>
                </a:solidFill>
              </a:rPr>
              <a:t>​A </a:t>
            </a:r>
            <a:r>
              <a:rPr lang="en-US" b="1">
                <a:solidFill>
                  <a:schemeClr val="tx1"/>
                </a:solidFill>
              </a:rPr>
              <a:t>unified service </a:t>
            </a:r>
            <a:r>
              <a:rPr lang="en-US">
                <a:solidFill>
                  <a:schemeClr val="tx1"/>
                </a:solidFill>
              </a:rPr>
              <a:t>with one Azure resource, one user experience​, one set of APIs​</a:t>
            </a:r>
          </a:p>
          <a:p>
            <a:pPr lvl="1"/>
            <a:r>
              <a:rPr lang="en-US" b="1">
                <a:solidFill>
                  <a:schemeClr val="tx1"/>
                </a:solidFill>
              </a:rPr>
              <a:t>Multilingual </a:t>
            </a:r>
            <a:r>
              <a:rPr lang="en-US">
                <a:solidFill>
                  <a:schemeClr val="tx1"/>
                </a:solidFill>
              </a:rPr>
              <a:t>for +100 languages via Z-Code.</a:t>
            </a:r>
          </a:p>
          <a:p>
            <a:pPr lvl="1"/>
            <a:r>
              <a:rPr lang="en-US">
                <a:solidFill>
                  <a:schemeClr val="tx1"/>
                </a:solidFill>
              </a:rPr>
              <a:t>State-of-the-art (</a:t>
            </a:r>
            <a:r>
              <a:rPr lang="en-US" b="1">
                <a:solidFill>
                  <a:schemeClr val="tx1"/>
                </a:solidFill>
              </a:rPr>
              <a:t>SOTA</a:t>
            </a:r>
            <a:r>
              <a:rPr lang="en-US">
                <a:solidFill>
                  <a:schemeClr val="tx1"/>
                </a:solidFill>
              </a:rPr>
              <a:t>) AI models </a:t>
            </a:r>
          </a:p>
          <a:p>
            <a:pPr lvl="1"/>
            <a:r>
              <a:rPr lang="en-US" b="1">
                <a:solidFill>
                  <a:schemeClr val="tx1"/>
                </a:solidFill>
              </a:rPr>
              <a:t>Pre-built</a:t>
            </a:r>
            <a:r>
              <a:rPr lang="en-US">
                <a:solidFill>
                  <a:schemeClr val="tx1"/>
                </a:solidFill>
              </a:rPr>
              <a:t>, generalized models for immediate value </a:t>
            </a:r>
          </a:p>
          <a:p>
            <a:pPr lvl="1"/>
            <a:r>
              <a:rPr lang="en-US" b="1">
                <a:solidFill>
                  <a:schemeClr val="tx1"/>
                </a:solidFill>
              </a:rPr>
              <a:t>Customization </a:t>
            </a:r>
            <a:r>
              <a:rPr lang="en-US">
                <a:solidFill>
                  <a:schemeClr val="tx1"/>
                </a:solidFill>
              </a:rPr>
              <a:t>to adapt models to customer specific needs</a:t>
            </a:r>
          </a:p>
          <a:p>
            <a:pPr lvl="1"/>
            <a:r>
              <a:rPr lang="en-US" b="1">
                <a:solidFill>
                  <a:schemeClr val="tx1"/>
                </a:solidFill>
              </a:rPr>
              <a:t>Flexible deployment </a:t>
            </a:r>
            <a:r>
              <a:rPr lang="en-US">
                <a:solidFill>
                  <a:schemeClr val="tx1"/>
                </a:solidFill>
              </a:rPr>
              <a:t>through Azure hosted service or as customer-hosted containers</a:t>
            </a:r>
          </a:p>
        </p:txBody>
      </p:sp>
      <p:grpSp>
        <p:nvGrpSpPr>
          <p:cNvPr id="7" name="Group 6">
            <a:extLst>
              <a:ext uri="{FF2B5EF4-FFF2-40B4-BE49-F238E27FC236}">
                <a16:creationId xmlns:a16="http://schemas.microsoft.com/office/drawing/2014/main" id="{50D4F1C8-5A43-425A-AB5F-3015E50AD551}"/>
              </a:ext>
            </a:extLst>
          </p:cNvPr>
          <p:cNvGrpSpPr/>
          <p:nvPr/>
        </p:nvGrpSpPr>
        <p:grpSpPr>
          <a:xfrm>
            <a:off x="6164138" y="2216311"/>
            <a:ext cx="3626775" cy="1078992"/>
            <a:chOff x="4252625" y="2693383"/>
            <a:chExt cx="4715044" cy="1661305"/>
          </a:xfrm>
        </p:grpSpPr>
        <p:sp>
          <p:nvSpPr>
            <p:cNvPr id="33" name="TextBox 32">
              <a:extLst>
                <a:ext uri="{FF2B5EF4-FFF2-40B4-BE49-F238E27FC236}">
                  <a16:creationId xmlns:a16="http://schemas.microsoft.com/office/drawing/2014/main" id="{DC815EC8-0863-430A-84F1-BA29ED39A2C3}"/>
                </a:ext>
              </a:extLst>
            </p:cNvPr>
            <p:cNvSpPr txBox="1"/>
            <p:nvPr/>
          </p:nvSpPr>
          <p:spPr>
            <a:xfrm>
              <a:off x="4252625" y="2693383"/>
              <a:ext cx="4715044" cy="1661305"/>
            </a:xfrm>
            <a:prstGeom prst="roundRect">
              <a:avLst>
                <a:gd name="adj" fmla="val 5509"/>
              </a:avLst>
            </a:prstGeom>
            <a:solidFill>
              <a:schemeClr val="tx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Understand questions &amp; conversations</a:t>
              </a:r>
            </a:p>
          </p:txBody>
        </p:sp>
        <p:pic>
          <p:nvPicPr>
            <p:cNvPr id="35" name="Graphic 34">
              <a:extLst>
                <a:ext uri="{FF2B5EF4-FFF2-40B4-BE49-F238E27FC236}">
                  <a16:creationId xmlns:a16="http://schemas.microsoft.com/office/drawing/2014/main" id="{34D6C7EF-87DC-47C1-8A44-AABC006C474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01169" y="3209362"/>
              <a:ext cx="652926" cy="548640"/>
            </a:xfrm>
            <a:prstGeom prst="rect">
              <a:avLst/>
            </a:prstGeom>
          </p:spPr>
        </p:pic>
        <p:pic>
          <p:nvPicPr>
            <p:cNvPr id="36" name="Graphic 35">
              <a:extLst>
                <a:ext uri="{FF2B5EF4-FFF2-40B4-BE49-F238E27FC236}">
                  <a16:creationId xmlns:a16="http://schemas.microsoft.com/office/drawing/2014/main" id="{2DE78123-F9BA-4B74-A9A6-63E53166A3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25025" y="3209362"/>
              <a:ext cx="699840" cy="548640"/>
            </a:xfrm>
            <a:prstGeom prst="rect">
              <a:avLst/>
            </a:prstGeom>
          </p:spPr>
        </p:pic>
        <p:pic>
          <p:nvPicPr>
            <p:cNvPr id="38" name="Graphic 37">
              <a:extLst>
                <a:ext uri="{FF2B5EF4-FFF2-40B4-BE49-F238E27FC236}">
                  <a16:creationId xmlns:a16="http://schemas.microsoft.com/office/drawing/2014/main" id="{FA284F62-1ADF-48F5-913C-3C8CFA0887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97459" y="3300802"/>
              <a:ext cx="166256" cy="365760"/>
            </a:xfrm>
            <a:prstGeom prst="rect">
              <a:avLst/>
            </a:prstGeom>
          </p:spPr>
        </p:pic>
        <p:sp>
          <p:nvSpPr>
            <p:cNvPr id="39" name="TextBox 38">
              <a:extLst>
                <a:ext uri="{FF2B5EF4-FFF2-40B4-BE49-F238E27FC236}">
                  <a16:creationId xmlns:a16="http://schemas.microsoft.com/office/drawing/2014/main" id="{E10C3D86-8E2E-4C48-BA17-0E8E5AF01868}"/>
                </a:ext>
              </a:extLst>
            </p:cNvPr>
            <p:cNvSpPr txBox="1"/>
            <p:nvPr/>
          </p:nvSpPr>
          <p:spPr>
            <a:xfrm>
              <a:off x="5778839" y="3816537"/>
              <a:ext cx="104241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question answering</a:t>
              </a:r>
            </a:p>
          </p:txBody>
        </p:sp>
        <p:sp>
          <p:nvSpPr>
            <p:cNvPr id="40" name="TextBox 39">
              <a:extLst>
                <a:ext uri="{FF2B5EF4-FFF2-40B4-BE49-F238E27FC236}">
                  <a16:creationId xmlns:a16="http://schemas.microsoft.com/office/drawing/2014/main" id="{391B2D38-2191-470D-BB85-31DB79608FC0}"/>
                </a:ext>
              </a:extLst>
            </p:cNvPr>
            <p:cNvSpPr txBox="1"/>
            <p:nvPr/>
          </p:nvSpPr>
          <p:spPr>
            <a:xfrm>
              <a:off x="7164073" y="3807257"/>
              <a:ext cx="142174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onvers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language understanding</a:t>
              </a:r>
            </a:p>
          </p:txBody>
        </p:sp>
        <p:pic>
          <p:nvPicPr>
            <p:cNvPr id="41" name="Picture 40" descr="A picture containing text&#10;&#10;Description automatically generated">
              <a:extLst>
                <a:ext uri="{FF2B5EF4-FFF2-40B4-BE49-F238E27FC236}">
                  <a16:creationId xmlns:a16="http://schemas.microsoft.com/office/drawing/2014/main" id="{2789A053-F952-434D-8DA3-B89DC30E775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10605" y="3209362"/>
              <a:ext cx="778884" cy="548640"/>
            </a:xfrm>
            <a:prstGeom prst="rect">
              <a:avLst/>
            </a:prstGeom>
          </p:spPr>
        </p:pic>
        <p:sp>
          <p:nvSpPr>
            <p:cNvPr id="42" name="TextBox 41">
              <a:extLst>
                <a:ext uri="{FF2B5EF4-FFF2-40B4-BE49-F238E27FC236}">
                  <a16:creationId xmlns:a16="http://schemas.microsoft.com/office/drawing/2014/main" id="{951EBDAD-A717-446C-B35C-3E2EFC9DAE1C}"/>
                </a:ext>
              </a:extLst>
            </p:cNvPr>
            <p:cNvSpPr txBox="1"/>
            <p:nvPr/>
          </p:nvSpPr>
          <p:spPr>
            <a:xfrm>
              <a:off x="4391618" y="3827591"/>
              <a:ext cx="104241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Question answering</a:t>
              </a:r>
            </a:p>
          </p:txBody>
        </p:sp>
      </p:grpSp>
      <p:grpSp>
        <p:nvGrpSpPr>
          <p:cNvPr id="6" name="Group 5">
            <a:extLst>
              <a:ext uri="{FF2B5EF4-FFF2-40B4-BE49-F238E27FC236}">
                <a16:creationId xmlns:a16="http://schemas.microsoft.com/office/drawing/2014/main" id="{E017668B-2AF8-4FF2-9D9B-8C5CB30FCDEB}"/>
              </a:ext>
            </a:extLst>
          </p:cNvPr>
          <p:cNvGrpSpPr/>
          <p:nvPr/>
        </p:nvGrpSpPr>
        <p:grpSpPr>
          <a:xfrm>
            <a:off x="6169524" y="3353243"/>
            <a:ext cx="3636611" cy="1078992"/>
            <a:chOff x="4250857" y="758276"/>
            <a:chExt cx="4573407" cy="1661305"/>
          </a:xfrm>
        </p:grpSpPr>
        <p:sp>
          <p:nvSpPr>
            <p:cNvPr id="45" name="TextBox 44">
              <a:extLst>
                <a:ext uri="{FF2B5EF4-FFF2-40B4-BE49-F238E27FC236}">
                  <a16:creationId xmlns:a16="http://schemas.microsoft.com/office/drawing/2014/main" id="{EABDEC60-87AF-4764-B098-9A4CBB2332AB}"/>
                </a:ext>
              </a:extLst>
            </p:cNvPr>
            <p:cNvSpPr txBox="1"/>
            <p:nvPr/>
          </p:nvSpPr>
          <p:spPr>
            <a:xfrm>
              <a:off x="4250857" y="758276"/>
              <a:ext cx="4573407" cy="1661305"/>
            </a:xfrm>
            <a:prstGeom prst="roundRect">
              <a:avLst>
                <a:gd name="adj" fmla="val 5200"/>
              </a:avLst>
            </a:prstGeom>
            <a:solidFill>
              <a:schemeClr val="tx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lassify text</a:t>
              </a:r>
            </a:p>
          </p:txBody>
        </p:sp>
        <p:pic>
          <p:nvPicPr>
            <p:cNvPr id="47" name="Graphic 46">
              <a:extLst>
                <a:ext uri="{FF2B5EF4-FFF2-40B4-BE49-F238E27FC236}">
                  <a16:creationId xmlns:a16="http://schemas.microsoft.com/office/drawing/2014/main" id="{B637EA21-C728-4221-B35A-1FE03F6CAAB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61369" y="1260391"/>
              <a:ext cx="561810" cy="548640"/>
            </a:xfrm>
            <a:prstGeom prst="rect">
              <a:avLst/>
            </a:prstGeom>
          </p:spPr>
        </p:pic>
        <p:pic>
          <p:nvPicPr>
            <p:cNvPr id="48" name="Graphic 47">
              <a:extLst>
                <a:ext uri="{FF2B5EF4-FFF2-40B4-BE49-F238E27FC236}">
                  <a16:creationId xmlns:a16="http://schemas.microsoft.com/office/drawing/2014/main" id="{5AFE2389-0302-4D5F-912B-5437AD5289B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089810" y="1260391"/>
              <a:ext cx="656490" cy="548640"/>
            </a:xfrm>
            <a:prstGeom prst="rect">
              <a:avLst/>
            </a:prstGeom>
          </p:spPr>
        </p:pic>
        <p:pic>
          <p:nvPicPr>
            <p:cNvPr id="49" name="Graphic 48">
              <a:extLst>
                <a:ext uri="{FF2B5EF4-FFF2-40B4-BE49-F238E27FC236}">
                  <a16:creationId xmlns:a16="http://schemas.microsoft.com/office/drawing/2014/main" id="{46DE1BF1-78F8-45E4-9506-E8DC80F48A04}"/>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528005" y="1260391"/>
              <a:ext cx="721440" cy="548640"/>
            </a:xfrm>
            <a:prstGeom prst="rect">
              <a:avLst/>
            </a:prstGeom>
          </p:spPr>
        </p:pic>
        <p:pic>
          <p:nvPicPr>
            <p:cNvPr id="50" name="Graphic 49">
              <a:extLst>
                <a:ext uri="{FF2B5EF4-FFF2-40B4-BE49-F238E27FC236}">
                  <a16:creationId xmlns:a16="http://schemas.microsoft.com/office/drawing/2014/main" id="{E5AEE8D2-1F8E-4451-902C-5835A59B4B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75540" y="1351831"/>
              <a:ext cx="166256" cy="365760"/>
            </a:xfrm>
            <a:prstGeom prst="rect">
              <a:avLst/>
            </a:prstGeom>
          </p:spPr>
        </p:pic>
        <p:sp>
          <p:nvSpPr>
            <p:cNvPr id="51" name="TextBox 50">
              <a:extLst>
                <a:ext uri="{FF2B5EF4-FFF2-40B4-BE49-F238E27FC236}">
                  <a16:creationId xmlns:a16="http://schemas.microsoft.com/office/drawing/2014/main" id="{73F4E7FC-3739-48CC-BCD7-F9227CDE92A1}"/>
                </a:ext>
              </a:extLst>
            </p:cNvPr>
            <p:cNvSpPr txBox="1"/>
            <p:nvPr/>
          </p:nvSpPr>
          <p:spPr>
            <a:xfrm>
              <a:off x="4495274" y="1908082"/>
              <a:ext cx="1145648"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Analyze sentiment and mine opinions</a:t>
              </a:r>
            </a:p>
          </p:txBody>
        </p:sp>
        <p:sp>
          <p:nvSpPr>
            <p:cNvPr id="52" name="TextBox 51">
              <a:extLst>
                <a:ext uri="{FF2B5EF4-FFF2-40B4-BE49-F238E27FC236}">
                  <a16:creationId xmlns:a16="http://schemas.microsoft.com/office/drawing/2014/main" id="{83FB7442-31CB-472D-98F9-AAD0F516CA71}"/>
                </a:ext>
              </a:extLst>
            </p:cNvPr>
            <p:cNvSpPr txBox="1"/>
            <p:nvPr/>
          </p:nvSpPr>
          <p:spPr>
            <a:xfrm>
              <a:off x="6013141" y="1905804"/>
              <a:ext cx="991397"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Detect </a:t>
              </a:r>
              <a:b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language</a:t>
              </a:r>
            </a:p>
          </p:txBody>
        </p:sp>
        <p:sp>
          <p:nvSpPr>
            <p:cNvPr id="53" name="TextBox 52">
              <a:extLst>
                <a:ext uri="{FF2B5EF4-FFF2-40B4-BE49-F238E27FC236}">
                  <a16:creationId xmlns:a16="http://schemas.microsoft.com/office/drawing/2014/main" id="{75414D93-8AD7-4FCF-8FDF-88B1143750BE}"/>
                </a:ext>
              </a:extLst>
            </p:cNvPr>
            <p:cNvSpPr txBox="1"/>
            <p:nvPr/>
          </p:nvSpPr>
          <p:spPr>
            <a:xfrm>
              <a:off x="7230782" y="1905804"/>
              <a:ext cx="1355035"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text classification</a:t>
              </a:r>
            </a:p>
          </p:txBody>
        </p:sp>
      </p:grpSp>
      <p:grpSp>
        <p:nvGrpSpPr>
          <p:cNvPr id="8" name="Group 7">
            <a:extLst>
              <a:ext uri="{FF2B5EF4-FFF2-40B4-BE49-F238E27FC236}">
                <a16:creationId xmlns:a16="http://schemas.microsoft.com/office/drawing/2014/main" id="{CB8D4DF5-8421-450F-84AE-5AF6779606EC}"/>
              </a:ext>
            </a:extLst>
          </p:cNvPr>
          <p:cNvGrpSpPr/>
          <p:nvPr/>
        </p:nvGrpSpPr>
        <p:grpSpPr>
          <a:xfrm>
            <a:off x="6156788" y="4480745"/>
            <a:ext cx="5626339" cy="1082859"/>
            <a:chOff x="4217015" y="4545050"/>
            <a:chExt cx="7075691" cy="1517334"/>
          </a:xfrm>
        </p:grpSpPr>
        <p:sp>
          <p:nvSpPr>
            <p:cNvPr id="55" name="TextBox 54">
              <a:extLst>
                <a:ext uri="{FF2B5EF4-FFF2-40B4-BE49-F238E27FC236}">
                  <a16:creationId xmlns:a16="http://schemas.microsoft.com/office/drawing/2014/main" id="{81F5E3E8-6DA5-4140-8FAC-B715683ECC04}"/>
                </a:ext>
              </a:extLst>
            </p:cNvPr>
            <p:cNvSpPr txBox="1"/>
            <p:nvPr/>
          </p:nvSpPr>
          <p:spPr>
            <a:xfrm>
              <a:off x="4217015" y="4545050"/>
              <a:ext cx="7075691" cy="1517334"/>
            </a:xfrm>
            <a:prstGeom prst="roundRect">
              <a:avLst>
                <a:gd name="adj" fmla="val 565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Extract information with Text Analytics for Healthcare</a:t>
              </a:r>
              <a:endPar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62" name="Graphic 61">
              <a:extLst>
                <a:ext uri="{FF2B5EF4-FFF2-40B4-BE49-F238E27FC236}">
                  <a16:creationId xmlns:a16="http://schemas.microsoft.com/office/drawing/2014/main" id="{B784218C-E5CE-49A6-B59C-3378BE1C76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13396" y="5062127"/>
              <a:ext cx="166252" cy="365760"/>
            </a:xfrm>
            <a:prstGeom prst="rect">
              <a:avLst/>
            </a:prstGeom>
          </p:spPr>
        </p:pic>
        <p:pic>
          <p:nvPicPr>
            <p:cNvPr id="57" name="Graphic 56">
              <a:extLst>
                <a:ext uri="{FF2B5EF4-FFF2-40B4-BE49-F238E27FC236}">
                  <a16:creationId xmlns:a16="http://schemas.microsoft.com/office/drawing/2014/main" id="{7C49AD15-5895-4A9E-B170-A3648750750D}"/>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519928" y="4970687"/>
              <a:ext cx="505098" cy="548640"/>
            </a:xfrm>
            <a:prstGeom prst="rect">
              <a:avLst/>
            </a:prstGeom>
          </p:spPr>
        </p:pic>
        <p:pic>
          <p:nvPicPr>
            <p:cNvPr id="58" name="Graphic 57">
              <a:extLst>
                <a:ext uri="{FF2B5EF4-FFF2-40B4-BE49-F238E27FC236}">
                  <a16:creationId xmlns:a16="http://schemas.microsoft.com/office/drawing/2014/main" id="{6985D54E-5E72-4997-9D72-FC75468C6DC2}"/>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593817" y="4970687"/>
              <a:ext cx="534570" cy="548640"/>
            </a:xfrm>
            <a:prstGeom prst="rect">
              <a:avLst/>
            </a:prstGeom>
          </p:spPr>
        </p:pic>
        <p:pic>
          <p:nvPicPr>
            <p:cNvPr id="59" name="Graphic 58">
              <a:extLst>
                <a:ext uri="{FF2B5EF4-FFF2-40B4-BE49-F238E27FC236}">
                  <a16:creationId xmlns:a16="http://schemas.microsoft.com/office/drawing/2014/main" id="{BE73907B-1DC9-4FC6-A89A-E3E027457C69}"/>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610147" y="4970687"/>
              <a:ext cx="792990" cy="548640"/>
            </a:xfrm>
            <a:prstGeom prst="rect">
              <a:avLst/>
            </a:prstGeom>
          </p:spPr>
        </p:pic>
        <p:pic>
          <p:nvPicPr>
            <p:cNvPr id="60" name="Graphic 59">
              <a:extLst>
                <a:ext uri="{FF2B5EF4-FFF2-40B4-BE49-F238E27FC236}">
                  <a16:creationId xmlns:a16="http://schemas.microsoft.com/office/drawing/2014/main" id="{95338E64-DF4F-47C9-9DB5-2C362A411447}"/>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787484" y="4970687"/>
              <a:ext cx="657498" cy="548640"/>
            </a:xfrm>
            <a:prstGeom prst="rect">
              <a:avLst/>
            </a:prstGeom>
          </p:spPr>
        </p:pic>
        <p:pic>
          <p:nvPicPr>
            <p:cNvPr id="61" name="Graphic 60">
              <a:extLst>
                <a:ext uri="{FF2B5EF4-FFF2-40B4-BE49-F238E27FC236}">
                  <a16:creationId xmlns:a16="http://schemas.microsoft.com/office/drawing/2014/main" id="{4FE83556-443D-4175-9E7E-A4F8C3619D8F}"/>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0075564" y="4970687"/>
              <a:ext cx="548640" cy="548640"/>
            </a:xfrm>
            <a:prstGeom prst="rect">
              <a:avLst/>
            </a:prstGeom>
          </p:spPr>
        </p:pic>
        <p:sp>
          <p:nvSpPr>
            <p:cNvPr id="63" name="TextBox 62">
              <a:extLst>
                <a:ext uri="{FF2B5EF4-FFF2-40B4-BE49-F238E27FC236}">
                  <a16:creationId xmlns:a16="http://schemas.microsoft.com/office/drawing/2014/main" id="{3D3EF722-0502-46F8-B7FE-BE5C5A48A894}"/>
                </a:ext>
              </a:extLst>
            </p:cNvPr>
            <p:cNvSpPr txBox="1"/>
            <p:nvPr/>
          </p:nvSpPr>
          <p:spPr>
            <a:xfrm>
              <a:off x="4250857" y="5613458"/>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a:t>
              </a:r>
              <a:b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PII</a:t>
              </a:r>
            </a:p>
          </p:txBody>
        </p:sp>
        <p:sp>
          <p:nvSpPr>
            <p:cNvPr id="64" name="TextBox 63">
              <a:extLst>
                <a:ext uri="{FF2B5EF4-FFF2-40B4-BE49-F238E27FC236}">
                  <a16:creationId xmlns:a16="http://schemas.microsoft.com/office/drawing/2014/main" id="{B759CFC5-6935-4CD8-8397-CF6C2FD9BB1A}"/>
                </a:ext>
              </a:extLst>
            </p:cNvPr>
            <p:cNvSpPr txBox="1"/>
            <p:nvPr/>
          </p:nvSpPr>
          <p:spPr>
            <a:xfrm>
              <a:off x="5366583" y="5618036"/>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key phrases</a:t>
              </a:r>
            </a:p>
          </p:txBody>
        </p:sp>
        <p:sp>
          <p:nvSpPr>
            <p:cNvPr id="65" name="TextBox 64">
              <a:extLst>
                <a:ext uri="{FF2B5EF4-FFF2-40B4-BE49-F238E27FC236}">
                  <a16:creationId xmlns:a16="http://schemas.microsoft.com/office/drawing/2014/main" id="{4D0994CF-B9BC-4309-BF7F-677D6C2CDE07}"/>
                </a:ext>
              </a:extLst>
            </p:cNvPr>
            <p:cNvSpPr txBox="1"/>
            <p:nvPr/>
          </p:nvSpPr>
          <p:spPr>
            <a:xfrm>
              <a:off x="6482309" y="5624734"/>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Find linked entities</a:t>
              </a:r>
            </a:p>
          </p:txBody>
        </p:sp>
        <p:sp>
          <p:nvSpPr>
            <p:cNvPr id="66" name="TextBox 65">
              <a:extLst>
                <a:ext uri="{FF2B5EF4-FFF2-40B4-BE49-F238E27FC236}">
                  <a16:creationId xmlns:a16="http://schemas.microsoft.com/office/drawing/2014/main" id="{0AAD903D-7F42-4721-8438-55CE47FA04A5}"/>
                </a:ext>
              </a:extLst>
            </p:cNvPr>
            <p:cNvSpPr txBox="1"/>
            <p:nvPr/>
          </p:nvSpPr>
          <p:spPr>
            <a:xfrm>
              <a:off x="7598034" y="5634098"/>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named entities</a:t>
              </a:r>
            </a:p>
          </p:txBody>
        </p:sp>
        <p:sp>
          <p:nvSpPr>
            <p:cNvPr id="67" name="TextBox 66">
              <a:extLst>
                <a:ext uri="{FF2B5EF4-FFF2-40B4-BE49-F238E27FC236}">
                  <a16:creationId xmlns:a16="http://schemas.microsoft.com/office/drawing/2014/main" id="{E4AD7A4C-7038-4F24-ABB1-D878E14216B2}"/>
                </a:ext>
              </a:extLst>
            </p:cNvPr>
            <p:cNvSpPr txBox="1"/>
            <p:nvPr/>
          </p:nvSpPr>
          <p:spPr>
            <a:xfrm>
              <a:off x="9829487" y="5622997"/>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named entity recognition</a:t>
              </a:r>
            </a:p>
          </p:txBody>
        </p:sp>
        <p:pic>
          <p:nvPicPr>
            <p:cNvPr id="68" name="Picture 67" descr="Text, whiteboard&#10;&#10;Description automatically generated">
              <a:extLst>
                <a:ext uri="{FF2B5EF4-FFF2-40B4-BE49-F238E27FC236}">
                  <a16:creationId xmlns:a16="http://schemas.microsoft.com/office/drawing/2014/main" id="{CE8EB51E-660D-416E-AC00-63AFC81AEDB0}"/>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8849041" y="4970687"/>
              <a:ext cx="772680" cy="548640"/>
            </a:xfrm>
            <a:prstGeom prst="rect">
              <a:avLst/>
            </a:prstGeom>
          </p:spPr>
        </p:pic>
        <p:sp>
          <p:nvSpPr>
            <p:cNvPr id="69" name="TextBox 68">
              <a:extLst>
                <a:ext uri="{FF2B5EF4-FFF2-40B4-BE49-F238E27FC236}">
                  <a16:creationId xmlns:a16="http://schemas.microsoft.com/office/drawing/2014/main" id="{AE63D8F2-248A-49A8-B30A-16DFB6D37B76}"/>
                </a:ext>
              </a:extLst>
            </p:cNvPr>
            <p:cNvSpPr txBox="1"/>
            <p:nvPr/>
          </p:nvSpPr>
          <p:spPr>
            <a:xfrm>
              <a:off x="8713761" y="5647985"/>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health information</a:t>
              </a:r>
            </a:p>
          </p:txBody>
        </p:sp>
      </p:grpSp>
      <p:grpSp>
        <p:nvGrpSpPr>
          <p:cNvPr id="24" name="Group 23">
            <a:extLst>
              <a:ext uri="{FF2B5EF4-FFF2-40B4-BE49-F238E27FC236}">
                <a16:creationId xmlns:a16="http://schemas.microsoft.com/office/drawing/2014/main" id="{897271ED-9287-4370-9B43-89810B3956A7}"/>
              </a:ext>
            </a:extLst>
          </p:cNvPr>
          <p:cNvGrpSpPr/>
          <p:nvPr/>
        </p:nvGrpSpPr>
        <p:grpSpPr>
          <a:xfrm>
            <a:off x="6152799" y="175147"/>
            <a:ext cx="3015213" cy="1078992"/>
            <a:chOff x="4205476" y="-468919"/>
            <a:chExt cx="3791936" cy="1664208"/>
          </a:xfrm>
        </p:grpSpPr>
        <p:grpSp>
          <p:nvGrpSpPr>
            <p:cNvPr id="23" name="Group 22">
              <a:extLst>
                <a:ext uri="{FF2B5EF4-FFF2-40B4-BE49-F238E27FC236}">
                  <a16:creationId xmlns:a16="http://schemas.microsoft.com/office/drawing/2014/main" id="{55C8D90B-9B88-4E0B-ABE1-DFB17611AEEB}"/>
                </a:ext>
              </a:extLst>
            </p:cNvPr>
            <p:cNvGrpSpPr/>
            <p:nvPr/>
          </p:nvGrpSpPr>
          <p:grpSpPr>
            <a:xfrm>
              <a:off x="4205476" y="-468919"/>
              <a:ext cx="3791936" cy="1664208"/>
              <a:chOff x="4205476" y="234615"/>
              <a:chExt cx="3791936" cy="1664208"/>
            </a:xfrm>
          </p:grpSpPr>
          <p:grpSp>
            <p:nvGrpSpPr>
              <p:cNvPr id="82" name="Group 81">
                <a:extLst>
                  <a:ext uri="{FF2B5EF4-FFF2-40B4-BE49-F238E27FC236}">
                    <a16:creationId xmlns:a16="http://schemas.microsoft.com/office/drawing/2014/main" id="{52E13893-5342-4D65-9CBD-ABA005354635}"/>
                  </a:ext>
                </a:extLst>
              </p:cNvPr>
              <p:cNvGrpSpPr/>
              <p:nvPr/>
            </p:nvGrpSpPr>
            <p:grpSpPr>
              <a:xfrm>
                <a:off x="4205476" y="234615"/>
                <a:ext cx="3791936" cy="1664208"/>
                <a:chOff x="4297477" y="2693383"/>
                <a:chExt cx="4715044" cy="1974759"/>
              </a:xfrm>
            </p:grpSpPr>
            <p:sp>
              <p:nvSpPr>
                <p:cNvPr id="83" name="TextBox 82">
                  <a:extLst>
                    <a:ext uri="{FF2B5EF4-FFF2-40B4-BE49-F238E27FC236}">
                      <a16:creationId xmlns:a16="http://schemas.microsoft.com/office/drawing/2014/main" id="{639443BC-7C75-4774-AC14-C2EDEF6F1843}"/>
                    </a:ext>
                  </a:extLst>
                </p:cNvPr>
                <p:cNvSpPr txBox="1"/>
                <p:nvPr/>
              </p:nvSpPr>
              <p:spPr>
                <a:xfrm>
                  <a:off x="4297477" y="2693383"/>
                  <a:ext cx="4715044" cy="1974759"/>
                </a:xfrm>
                <a:prstGeom prst="roundRect">
                  <a:avLst>
                    <a:gd name="adj" fmla="val 550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Summarize text</a:t>
                  </a:r>
                </a:p>
              </p:txBody>
            </p:sp>
            <p:sp>
              <p:nvSpPr>
                <p:cNvPr id="90" name="TextBox 89">
                  <a:extLst>
                    <a:ext uri="{FF2B5EF4-FFF2-40B4-BE49-F238E27FC236}">
                      <a16:creationId xmlns:a16="http://schemas.microsoft.com/office/drawing/2014/main" id="{6964CAB4-9849-4E45-8327-41924F070A5E}"/>
                    </a:ext>
                  </a:extLst>
                </p:cNvPr>
                <p:cNvSpPr txBox="1"/>
                <p:nvPr/>
              </p:nvSpPr>
              <p:spPr>
                <a:xfrm>
                  <a:off x="4474769" y="4025549"/>
                  <a:ext cx="1164007" cy="367430"/>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Document summarization</a:t>
                  </a:r>
                </a:p>
              </p:txBody>
            </p:sp>
          </p:grpSp>
          <p:pic>
            <p:nvPicPr>
              <p:cNvPr id="43" name="Picture 42" descr="Text&#10;&#10;Description automatically generated">
                <a:extLst>
                  <a:ext uri="{FF2B5EF4-FFF2-40B4-BE49-F238E27FC236}">
                    <a16:creationId xmlns:a16="http://schemas.microsoft.com/office/drawing/2014/main" id="{2F26B4E1-86EE-4EA0-B115-CAF66456A70A}"/>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4313684" y="581049"/>
                <a:ext cx="1070213" cy="778172"/>
              </a:xfrm>
              <a:prstGeom prst="rect">
                <a:avLst/>
              </a:prstGeom>
            </p:spPr>
          </p:pic>
        </p:grpSp>
        <p:sp>
          <p:nvSpPr>
            <p:cNvPr id="10" name="TextBox 9">
              <a:extLst>
                <a:ext uri="{FF2B5EF4-FFF2-40B4-BE49-F238E27FC236}">
                  <a16:creationId xmlns:a16="http://schemas.microsoft.com/office/drawing/2014/main" id="{34902A9E-63B6-4B46-8461-0FEA4D403EAA}"/>
                </a:ext>
              </a:extLst>
            </p:cNvPr>
            <p:cNvSpPr txBox="1"/>
            <p:nvPr/>
          </p:nvSpPr>
          <p:spPr>
            <a:xfrm>
              <a:off x="5419128" y="654669"/>
              <a:ext cx="1967561" cy="379765"/>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Email, Chat, Conversation </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summarization</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p:txBody>
        </p:sp>
      </p:grpSp>
      <p:pic>
        <p:nvPicPr>
          <p:cNvPr id="44" name="Picture 43">
            <a:extLst>
              <a:ext uri="{FF2B5EF4-FFF2-40B4-BE49-F238E27FC236}">
                <a16:creationId xmlns:a16="http://schemas.microsoft.com/office/drawing/2014/main" id="{B70A6168-531C-43D3-A4EC-A3F976D773A0}"/>
              </a:ext>
            </a:extLst>
          </p:cNvPr>
          <p:cNvPicPr>
            <a:picLocks noChangeAspect="1"/>
          </p:cNvPicPr>
          <p:nvPr/>
        </p:nvPicPr>
        <p:blipFill>
          <a:blip r:embed="rId30"/>
          <a:stretch>
            <a:fillRect/>
          </a:stretch>
        </p:blipFill>
        <p:spPr>
          <a:xfrm>
            <a:off x="7709152" y="420055"/>
            <a:ext cx="521986" cy="468895"/>
          </a:xfrm>
          <a:prstGeom prst="rect">
            <a:avLst/>
          </a:prstGeom>
          <a:scene3d>
            <a:camera prst="isometricOffAxis2Left">
              <a:rot lat="1937205" lon="3237196" rev="20127"/>
            </a:camera>
            <a:lightRig rig="threePt" dir="t"/>
          </a:scene3d>
        </p:spPr>
      </p:pic>
      <p:graphicFrame>
        <p:nvGraphicFramePr>
          <p:cNvPr id="15" name="Table 46">
            <a:extLst>
              <a:ext uri="{FF2B5EF4-FFF2-40B4-BE49-F238E27FC236}">
                <a16:creationId xmlns:a16="http://schemas.microsoft.com/office/drawing/2014/main" id="{0F8BCD15-CDFA-4313-872D-4887E829D80F}"/>
              </a:ext>
            </a:extLst>
          </p:cNvPr>
          <p:cNvGraphicFramePr>
            <a:graphicFrameLocks noGrp="1"/>
          </p:cNvGraphicFramePr>
          <p:nvPr/>
        </p:nvGraphicFramePr>
        <p:xfrm>
          <a:off x="0" y="5672396"/>
          <a:ext cx="12192000" cy="1185604"/>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185604">
                <a:tc>
                  <a:txBody>
                    <a:bodyPr/>
                    <a:lstStyle/>
                    <a:p>
                      <a:pPr marL="463550" indent="0" algn="l"/>
                      <a:r>
                        <a:rPr lang="en-US" b="0">
                          <a:solidFill>
                            <a:srgbClr val="FFFFFF"/>
                          </a:solidFill>
                        </a:rPr>
                        <a:t>Regulatory</a:t>
                      </a:r>
                    </a:p>
                    <a:p>
                      <a:pPr marL="463550" indent="0" algn="l"/>
                      <a:r>
                        <a:rPr lang="en-US" b="0">
                          <a:solidFill>
                            <a:srgbClr val="FFFFFF"/>
                          </a:solidFill>
                        </a:rPr>
                        <a:t>Complia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85217251"/>
                  </a:ext>
                </a:extLst>
              </a:tr>
            </a:tbl>
          </a:graphicData>
        </a:graphic>
      </p:graphicFrame>
      <p:graphicFrame>
        <p:nvGraphicFramePr>
          <p:cNvPr id="16" name="Table 46">
            <a:extLst>
              <a:ext uri="{FF2B5EF4-FFF2-40B4-BE49-F238E27FC236}">
                <a16:creationId xmlns:a16="http://schemas.microsoft.com/office/drawing/2014/main" id="{A060E502-53B6-4E4C-AD4E-CA3B592F18BA}"/>
              </a:ext>
            </a:extLst>
          </p:cNvPr>
          <p:cNvGraphicFramePr>
            <a:graphicFrameLocks noGrp="1"/>
          </p:cNvGraphicFramePr>
          <p:nvPr/>
        </p:nvGraphicFramePr>
        <p:xfrm>
          <a:off x="0" y="5672396"/>
          <a:ext cx="12192000" cy="1185604"/>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185604">
                <a:tc>
                  <a:txBody>
                    <a:bodyPr/>
                    <a:lstStyle/>
                    <a:p>
                      <a:pPr marL="463550" indent="0" algn="l"/>
                      <a:r>
                        <a:rPr lang="en-US" b="0">
                          <a:solidFill>
                            <a:srgbClr val="FFFFFF"/>
                          </a:solidFill>
                        </a:rPr>
                        <a:t>Regulatory</a:t>
                      </a:r>
                    </a:p>
                    <a:p>
                      <a:pPr marL="463550" indent="0" algn="l"/>
                      <a:r>
                        <a:rPr lang="en-US" b="0">
                          <a:solidFill>
                            <a:srgbClr val="FFFFFF"/>
                          </a:solidFill>
                        </a:rPr>
                        <a:t>Complia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85217251"/>
                  </a:ext>
                </a:extLst>
              </a:tr>
            </a:tbl>
          </a:graphicData>
        </a:graphic>
      </p:graphicFrame>
      <p:pic>
        <p:nvPicPr>
          <p:cNvPr id="17" name="Picture 16" descr="Text&#10;&#10;Description automatically generated">
            <a:extLst>
              <a:ext uri="{FF2B5EF4-FFF2-40B4-BE49-F238E27FC236}">
                <a16:creationId xmlns:a16="http://schemas.microsoft.com/office/drawing/2014/main" id="{40284C15-2A22-4199-AFCA-C7552E79398C}"/>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259356" y="5752989"/>
            <a:ext cx="685800" cy="685800"/>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A76634DC-4D58-4978-9E90-FFA1AD37C699}"/>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254653" y="5752989"/>
            <a:ext cx="685800" cy="685800"/>
          </a:xfrm>
          <a:prstGeom prst="rect">
            <a:avLst/>
          </a:prstGeom>
        </p:spPr>
      </p:pic>
      <p:pic>
        <p:nvPicPr>
          <p:cNvPr id="19" name="Picture 18" descr="Icon&#10;&#10;Description automatically generated">
            <a:extLst>
              <a:ext uri="{FF2B5EF4-FFF2-40B4-BE49-F238E27FC236}">
                <a16:creationId xmlns:a16="http://schemas.microsoft.com/office/drawing/2014/main" id="{B5CD84D6-7C85-4341-9B94-EA5E4C0F33D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249950" y="5752989"/>
            <a:ext cx="685800" cy="685800"/>
          </a:xfrm>
          <a:prstGeom prst="rect">
            <a:avLst/>
          </a:prstGeom>
        </p:spPr>
      </p:pic>
      <p:pic>
        <p:nvPicPr>
          <p:cNvPr id="21" name="Picture 20" descr="Shape, icon, arrow&#10;&#10;Description automatically generated">
            <a:extLst>
              <a:ext uri="{FF2B5EF4-FFF2-40B4-BE49-F238E27FC236}">
                <a16:creationId xmlns:a16="http://schemas.microsoft.com/office/drawing/2014/main" id="{8BBF0D9E-12CE-4D5D-AC91-DF307BD1561D}"/>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245247" y="5752989"/>
            <a:ext cx="685800" cy="685800"/>
          </a:xfrm>
          <a:prstGeom prst="rect">
            <a:avLst/>
          </a:prstGeom>
        </p:spPr>
      </p:pic>
      <p:pic>
        <p:nvPicPr>
          <p:cNvPr id="22" name="Picture 21" descr="Logo&#10;&#10;Description automatically generated">
            <a:extLst>
              <a:ext uri="{FF2B5EF4-FFF2-40B4-BE49-F238E27FC236}">
                <a16:creationId xmlns:a16="http://schemas.microsoft.com/office/drawing/2014/main" id="{939B54CC-2F84-4431-852C-C30C0F8E0D3E}"/>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240544" y="5752989"/>
            <a:ext cx="685800" cy="685800"/>
          </a:xfrm>
          <a:prstGeom prst="rect">
            <a:avLst/>
          </a:prstGeom>
        </p:spPr>
      </p:pic>
      <p:pic>
        <p:nvPicPr>
          <p:cNvPr id="25" name="Picture 24" descr="Logo, company name&#10;&#10;Description automatically generated">
            <a:extLst>
              <a:ext uri="{FF2B5EF4-FFF2-40B4-BE49-F238E27FC236}">
                <a16:creationId xmlns:a16="http://schemas.microsoft.com/office/drawing/2014/main" id="{1B05F708-37E2-4695-9321-27C62596798F}"/>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35841" y="5752989"/>
            <a:ext cx="685800" cy="685800"/>
          </a:xfrm>
          <a:prstGeom prst="rect">
            <a:avLst/>
          </a:prstGeom>
        </p:spPr>
      </p:pic>
      <p:pic>
        <p:nvPicPr>
          <p:cNvPr id="28" name="Picture 27" descr="Logo, company name&#10;&#10;Description automatically generated">
            <a:extLst>
              <a:ext uri="{FF2B5EF4-FFF2-40B4-BE49-F238E27FC236}">
                <a16:creationId xmlns:a16="http://schemas.microsoft.com/office/drawing/2014/main" id="{7D4766DB-5BE9-4E2C-BDB8-28C5B3E821FA}"/>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231138" y="5752989"/>
            <a:ext cx="685800" cy="685800"/>
          </a:xfrm>
          <a:prstGeom prst="rect">
            <a:avLst/>
          </a:prstGeom>
        </p:spPr>
      </p:pic>
      <p:pic>
        <p:nvPicPr>
          <p:cNvPr id="29" name="Picture 28" descr="Arrow&#10;&#10;Description automatically generated">
            <a:extLst>
              <a:ext uri="{FF2B5EF4-FFF2-40B4-BE49-F238E27FC236}">
                <a16:creationId xmlns:a16="http://schemas.microsoft.com/office/drawing/2014/main" id="{E79B0FCE-36CD-43A3-89C3-4D1399A8F974}"/>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226435" y="5752989"/>
            <a:ext cx="685800" cy="685800"/>
          </a:xfrm>
          <a:prstGeom prst="rect">
            <a:avLst/>
          </a:prstGeom>
        </p:spPr>
      </p:pic>
      <p:pic>
        <p:nvPicPr>
          <p:cNvPr id="31" name="Picture 30" descr="A close up of a clock&#10;&#10;Description automatically generated">
            <a:extLst>
              <a:ext uri="{FF2B5EF4-FFF2-40B4-BE49-F238E27FC236}">
                <a16:creationId xmlns:a16="http://schemas.microsoft.com/office/drawing/2014/main" id="{7726E8C8-FE0A-4E7E-8E4E-AC563C6FB25F}"/>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221736" y="5752989"/>
            <a:ext cx="685800" cy="685800"/>
          </a:xfrm>
          <a:prstGeom prst="rect">
            <a:avLst/>
          </a:prstGeom>
        </p:spPr>
      </p:pic>
      <p:sp>
        <p:nvSpPr>
          <p:cNvPr id="32" name="TextBox 31">
            <a:extLst>
              <a:ext uri="{FF2B5EF4-FFF2-40B4-BE49-F238E27FC236}">
                <a16:creationId xmlns:a16="http://schemas.microsoft.com/office/drawing/2014/main" id="{1907A543-6467-47A7-987E-660E50EC80A8}"/>
              </a:ext>
            </a:extLst>
          </p:cNvPr>
          <p:cNvSpPr txBox="1"/>
          <p:nvPr/>
        </p:nvSpPr>
        <p:spPr>
          <a:xfrm>
            <a:off x="2257868"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SA</a:t>
            </a:r>
          </a:p>
        </p:txBody>
      </p:sp>
      <p:sp>
        <p:nvSpPr>
          <p:cNvPr id="37" name="TextBox 36">
            <a:extLst>
              <a:ext uri="{FF2B5EF4-FFF2-40B4-BE49-F238E27FC236}">
                <a16:creationId xmlns:a16="http://schemas.microsoft.com/office/drawing/2014/main" id="{516D8D4A-6E3F-47BC-82D7-F8C3F2B312D6}"/>
              </a:ext>
            </a:extLst>
          </p:cNvPr>
          <p:cNvSpPr txBox="1"/>
          <p:nvPr/>
        </p:nvSpPr>
        <p:spPr>
          <a:xfrm>
            <a:off x="3254653"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FedRAMP</a:t>
            </a:r>
          </a:p>
        </p:txBody>
      </p:sp>
      <p:sp>
        <p:nvSpPr>
          <p:cNvPr id="46" name="TextBox 45">
            <a:extLst>
              <a:ext uri="{FF2B5EF4-FFF2-40B4-BE49-F238E27FC236}">
                <a16:creationId xmlns:a16="http://schemas.microsoft.com/office/drawing/2014/main" id="{DC7F4890-FA3C-4ECB-9124-EAA75C907607}"/>
              </a:ext>
            </a:extLst>
          </p:cNvPr>
          <p:cNvSpPr txBox="1"/>
          <p:nvPr/>
        </p:nvSpPr>
        <p:spPr>
          <a:xfrm>
            <a:off x="4248462"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GDPR</a:t>
            </a:r>
          </a:p>
        </p:txBody>
      </p:sp>
      <p:sp>
        <p:nvSpPr>
          <p:cNvPr id="54" name="TextBox 53">
            <a:extLst>
              <a:ext uri="{FF2B5EF4-FFF2-40B4-BE49-F238E27FC236}">
                <a16:creationId xmlns:a16="http://schemas.microsoft.com/office/drawing/2014/main" id="{CEC50954-A19C-4266-80E7-B20EA086CCFD}"/>
              </a:ext>
            </a:extLst>
          </p:cNvPr>
          <p:cNvSpPr txBox="1"/>
          <p:nvPr/>
        </p:nvSpPr>
        <p:spPr>
          <a:xfrm>
            <a:off x="5245247"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IPAA</a:t>
            </a:r>
          </a:p>
        </p:txBody>
      </p:sp>
      <p:sp>
        <p:nvSpPr>
          <p:cNvPr id="56" name="TextBox 55">
            <a:extLst>
              <a:ext uri="{FF2B5EF4-FFF2-40B4-BE49-F238E27FC236}">
                <a16:creationId xmlns:a16="http://schemas.microsoft.com/office/drawing/2014/main" id="{3E60A201-9939-47C6-B975-25E78A8EE9DB}"/>
              </a:ext>
            </a:extLst>
          </p:cNvPr>
          <p:cNvSpPr txBox="1"/>
          <p:nvPr/>
        </p:nvSpPr>
        <p:spPr>
          <a:xfrm>
            <a:off x="6238541"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ITRUST</a:t>
            </a:r>
          </a:p>
        </p:txBody>
      </p:sp>
      <p:sp>
        <p:nvSpPr>
          <p:cNvPr id="96" name="TextBox 95">
            <a:extLst>
              <a:ext uri="{FF2B5EF4-FFF2-40B4-BE49-F238E27FC236}">
                <a16:creationId xmlns:a16="http://schemas.microsoft.com/office/drawing/2014/main" id="{80A8C599-D090-4194-A923-F69180BAEC4C}"/>
              </a:ext>
            </a:extLst>
          </p:cNvPr>
          <p:cNvSpPr txBox="1"/>
          <p:nvPr/>
        </p:nvSpPr>
        <p:spPr>
          <a:xfrm>
            <a:off x="7231835"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ISO</a:t>
            </a:r>
          </a:p>
        </p:txBody>
      </p:sp>
      <p:sp>
        <p:nvSpPr>
          <p:cNvPr id="98" name="TextBox 97">
            <a:extLst>
              <a:ext uri="{FF2B5EF4-FFF2-40B4-BE49-F238E27FC236}">
                <a16:creationId xmlns:a16="http://schemas.microsoft.com/office/drawing/2014/main" id="{707509D1-9C9A-4CC5-80D9-23644E61B543}"/>
              </a:ext>
            </a:extLst>
          </p:cNvPr>
          <p:cNvSpPr txBox="1"/>
          <p:nvPr/>
        </p:nvSpPr>
        <p:spPr>
          <a:xfrm>
            <a:off x="8231138"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PCI</a:t>
            </a:r>
          </a:p>
        </p:txBody>
      </p:sp>
      <p:sp>
        <p:nvSpPr>
          <p:cNvPr id="100" name="TextBox 99">
            <a:extLst>
              <a:ext uri="{FF2B5EF4-FFF2-40B4-BE49-F238E27FC236}">
                <a16:creationId xmlns:a16="http://schemas.microsoft.com/office/drawing/2014/main" id="{2D7C7383-4417-4E5A-9CEF-167E2773396E}"/>
              </a:ext>
            </a:extLst>
          </p:cNvPr>
          <p:cNvSpPr txBox="1"/>
          <p:nvPr/>
        </p:nvSpPr>
        <p:spPr>
          <a:xfrm>
            <a:off x="9226435"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SOC</a:t>
            </a:r>
          </a:p>
        </p:txBody>
      </p:sp>
      <p:sp>
        <p:nvSpPr>
          <p:cNvPr id="102" name="TextBox 101">
            <a:extLst>
              <a:ext uri="{FF2B5EF4-FFF2-40B4-BE49-F238E27FC236}">
                <a16:creationId xmlns:a16="http://schemas.microsoft.com/office/drawing/2014/main" id="{0D384182-FB8E-452E-B956-5011AD5392E6}"/>
              </a:ext>
            </a:extLst>
          </p:cNvPr>
          <p:cNvSpPr txBox="1"/>
          <p:nvPr/>
        </p:nvSpPr>
        <p:spPr>
          <a:xfrm>
            <a:off x="10221736"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US DoD</a:t>
            </a:r>
          </a:p>
        </p:txBody>
      </p:sp>
      <p:pic>
        <p:nvPicPr>
          <p:cNvPr id="2" name="Graphic 1">
            <a:extLst>
              <a:ext uri="{FF2B5EF4-FFF2-40B4-BE49-F238E27FC236}">
                <a16:creationId xmlns:a16="http://schemas.microsoft.com/office/drawing/2014/main" id="{43FDD38C-804B-F338-7D67-16A4029FCB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771" y="3210819"/>
            <a:ext cx="127883" cy="290839"/>
          </a:xfrm>
          <a:prstGeom prst="rect">
            <a:avLst/>
          </a:prstGeom>
        </p:spPr>
      </p:pic>
      <p:grpSp>
        <p:nvGrpSpPr>
          <p:cNvPr id="9" name="Group 8">
            <a:extLst>
              <a:ext uri="{FF2B5EF4-FFF2-40B4-BE49-F238E27FC236}">
                <a16:creationId xmlns:a16="http://schemas.microsoft.com/office/drawing/2014/main" id="{E695EAA8-E565-2D14-432E-D6B8BC349FBD}"/>
              </a:ext>
            </a:extLst>
          </p:cNvPr>
          <p:cNvGrpSpPr/>
          <p:nvPr/>
        </p:nvGrpSpPr>
        <p:grpSpPr>
          <a:xfrm>
            <a:off x="6169036" y="1283109"/>
            <a:ext cx="3015213" cy="899614"/>
            <a:chOff x="4205476" y="-468919"/>
            <a:chExt cx="3791936" cy="1664208"/>
          </a:xfrm>
        </p:grpSpPr>
        <p:grpSp>
          <p:nvGrpSpPr>
            <p:cNvPr id="14" name="Group 13">
              <a:extLst>
                <a:ext uri="{FF2B5EF4-FFF2-40B4-BE49-F238E27FC236}">
                  <a16:creationId xmlns:a16="http://schemas.microsoft.com/office/drawing/2014/main" id="{1FB710BB-B618-0555-7320-8EA6819F5068}"/>
                </a:ext>
              </a:extLst>
            </p:cNvPr>
            <p:cNvGrpSpPr/>
            <p:nvPr/>
          </p:nvGrpSpPr>
          <p:grpSpPr>
            <a:xfrm>
              <a:off x="4205476" y="-468919"/>
              <a:ext cx="3791936" cy="1664208"/>
              <a:chOff x="4297477" y="2693383"/>
              <a:chExt cx="4715044" cy="1974759"/>
            </a:xfrm>
          </p:grpSpPr>
          <p:sp>
            <p:nvSpPr>
              <p:cNvPr id="26" name="TextBox 25">
                <a:extLst>
                  <a:ext uri="{FF2B5EF4-FFF2-40B4-BE49-F238E27FC236}">
                    <a16:creationId xmlns:a16="http://schemas.microsoft.com/office/drawing/2014/main" id="{FFE9F5F3-D4BD-8146-9A32-86C85280F6C6}"/>
                  </a:ext>
                </a:extLst>
              </p:cNvPr>
              <p:cNvSpPr txBox="1"/>
              <p:nvPr/>
            </p:nvSpPr>
            <p:spPr>
              <a:xfrm>
                <a:off x="4297477" y="2693383"/>
                <a:ext cx="4715044" cy="1974759"/>
              </a:xfrm>
              <a:prstGeom prst="roundRect">
                <a:avLst>
                  <a:gd name="adj" fmla="val 550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Translate text</a:t>
                </a:r>
              </a:p>
            </p:txBody>
          </p:sp>
          <p:sp>
            <p:nvSpPr>
              <p:cNvPr id="27" name="TextBox 26">
                <a:extLst>
                  <a:ext uri="{FF2B5EF4-FFF2-40B4-BE49-F238E27FC236}">
                    <a16:creationId xmlns:a16="http://schemas.microsoft.com/office/drawing/2014/main" id="{31F99DFB-2D04-06EA-733A-6368CE2CFA9A}"/>
                  </a:ext>
                </a:extLst>
              </p:cNvPr>
              <p:cNvSpPr txBox="1"/>
              <p:nvPr/>
            </p:nvSpPr>
            <p:spPr>
              <a:xfrm>
                <a:off x="4474769" y="4025550"/>
                <a:ext cx="1164007" cy="54048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Document Translation</a:t>
                </a:r>
              </a:p>
            </p:txBody>
          </p:sp>
        </p:grpSp>
        <p:sp>
          <p:nvSpPr>
            <p:cNvPr id="12" name="TextBox 11">
              <a:extLst>
                <a:ext uri="{FF2B5EF4-FFF2-40B4-BE49-F238E27FC236}">
                  <a16:creationId xmlns:a16="http://schemas.microsoft.com/office/drawing/2014/main" id="{B9B3275A-BC78-55B1-FF51-8AE27DD4388D}"/>
                </a:ext>
              </a:extLst>
            </p:cNvPr>
            <p:cNvSpPr txBox="1"/>
            <p:nvPr/>
          </p:nvSpPr>
          <p:spPr>
            <a:xfrm>
              <a:off x="5419128" y="654668"/>
              <a:ext cx="1967561" cy="455488"/>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Translation</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p:txBody>
        </p:sp>
      </p:grpSp>
      <p:pic>
        <p:nvPicPr>
          <p:cNvPr id="72" name="Graphic 71">
            <a:extLst>
              <a:ext uri="{FF2B5EF4-FFF2-40B4-BE49-F238E27FC236}">
                <a16:creationId xmlns:a16="http://schemas.microsoft.com/office/drawing/2014/main" id="{E7BAE0B3-8EAB-34E0-0530-48028E71D8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22882" y="2644249"/>
            <a:ext cx="127883" cy="237555"/>
          </a:xfrm>
          <a:prstGeom prst="rect">
            <a:avLst/>
          </a:prstGeom>
        </p:spPr>
      </p:pic>
      <p:grpSp>
        <p:nvGrpSpPr>
          <p:cNvPr id="107" name="Group 106">
            <a:extLst>
              <a:ext uri="{FF2B5EF4-FFF2-40B4-BE49-F238E27FC236}">
                <a16:creationId xmlns:a16="http://schemas.microsoft.com/office/drawing/2014/main" id="{25CBD950-A8C1-7B65-EAB3-8E2A8CF6B5E5}"/>
              </a:ext>
            </a:extLst>
          </p:cNvPr>
          <p:cNvGrpSpPr/>
          <p:nvPr/>
        </p:nvGrpSpPr>
        <p:grpSpPr>
          <a:xfrm>
            <a:off x="6439448" y="1531857"/>
            <a:ext cx="397822" cy="341335"/>
            <a:chOff x="4857750" y="2699546"/>
            <a:chExt cx="2476500" cy="1457325"/>
          </a:xfrm>
        </p:grpSpPr>
        <p:sp>
          <p:nvSpPr>
            <p:cNvPr id="30" name="AutoShape 2" descr="Customize translation">
              <a:extLst>
                <a:ext uri="{FF2B5EF4-FFF2-40B4-BE49-F238E27FC236}">
                  <a16:creationId xmlns:a16="http://schemas.microsoft.com/office/drawing/2014/main" id="{935827FB-9216-4805-D073-FAA793407DC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30C53CFB-7115-3C65-FFDF-8432CC5D5E75}"/>
                </a:ext>
              </a:extLst>
            </p:cNvPr>
            <p:cNvSpPr/>
            <p:nvPr/>
          </p:nvSpPr>
          <p:spPr>
            <a:xfrm>
              <a:off x="4857750" y="2699546"/>
              <a:ext cx="2476500" cy="1457325"/>
            </a:xfrm>
            <a:custGeom>
              <a:avLst/>
              <a:gdLst>
                <a:gd name="connsiteX0" fmla="*/ 0 w 2476500"/>
                <a:gd name="connsiteY0" fmla="*/ 0 h 1457325"/>
                <a:gd name="connsiteX1" fmla="*/ 2476500 w 2476500"/>
                <a:gd name="connsiteY1" fmla="*/ 0 h 1457325"/>
                <a:gd name="connsiteX2" fmla="*/ 2476500 w 2476500"/>
                <a:gd name="connsiteY2" fmla="*/ 1457325 h 1457325"/>
                <a:gd name="connsiteX3" fmla="*/ 0 w 2476500"/>
                <a:gd name="connsiteY3" fmla="*/ 1457325 h 1457325"/>
              </a:gdLst>
              <a:ahLst/>
              <a:cxnLst>
                <a:cxn ang="0">
                  <a:pos x="connsiteX0" y="connsiteY0"/>
                </a:cxn>
                <a:cxn ang="0">
                  <a:pos x="connsiteX1" y="connsiteY1"/>
                </a:cxn>
                <a:cxn ang="0">
                  <a:pos x="connsiteX2" y="connsiteY2"/>
                </a:cxn>
                <a:cxn ang="0">
                  <a:pos x="connsiteX3" y="connsiteY3"/>
                </a:cxn>
              </a:cxnLst>
              <a:rect l="l" t="t" r="r" b="b"/>
              <a:pathLst>
                <a:path w="2476500" h="1457325">
                  <a:moveTo>
                    <a:pt x="0" y="0"/>
                  </a:moveTo>
                  <a:lnTo>
                    <a:pt x="2476500" y="0"/>
                  </a:lnTo>
                  <a:lnTo>
                    <a:pt x="2476500" y="1457325"/>
                  </a:lnTo>
                  <a:lnTo>
                    <a:pt x="0" y="145732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0FCDD330-3D39-7A00-AC36-F1F920DCD85D}"/>
                </a:ext>
              </a:extLst>
            </p:cNvPr>
            <p:cNvSpPr/>
            <p:nvPr/>
          </p:nvSpPr>
          <p:spPr>
            <a:xfrm>
              <a:off x="4953000" y="2771775"/>
              <a:ext cx="2295525" cy="1295400"/>
            </a:xfrm>
            <a:custGeom>
              <a:avLst/>
              <a:gdLst>
                <a:gd name="connsiteX0" fmla="*/ 0 w 2295525"/>
                <a:gd name="connsiteY0" fmla="*/ 0 h 1295400"/>
                <a:gd name="connsiteX1" fmla="*/ 2295525 w 2295525"/>
                <a:gd name="connsiteY1" fmla="*/ 0 h 1295400"/>
                <a:gd name="connsiteX2" fmla="*/ 2295525 w 2295525"/>
                <a:gd name="connsiteY2" fmla="*/ 1295400 h 1295400"/>
                <a:gd name="connsiteX3" fmla="*/ 0 w 2295525"/>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2295525" h="1295400">
                  <a:moveTo>
                    <a:pt x="0" y="0"/>
                  </a:moveTo>
                  <a:lnTo>
                    <a:pt x="2295525" y="0"/>
                  </a:lnTo>
                  <a:lnTo>
                    <a:pt x="2295525" y="1295400"/>
                  </a:lnTo>
                  <a:lnTo>
                    <a:pt x="0" y="129540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5F36163-8B56-E186-8219-6AD1C27A2904}"/>
                </a:ext>
              </a:extLst>
            </p:cNvPr>
            <p:cNvSpPr/>
            <p:nvPr/>
          </p:nvSpPr>
          <p:spPr>
            <a:xfrm>
              <a:off x="5609854" y="3375777"/>
              <a:ext cx="1033156" cy="187261"/>
            </a:xfrm>
            <a:custGeom>
              <a:avLst/>
              <a:gdLst>
                <a:gd name="connsiteX0" fmla="*/ 1033157 w 1033156"/>
                <a:gd name="connsiteY0" fmla="*/ 0 h 187261"/>
                <a:gd name="connsiteX1" fmla="*/ 0 w 1033156"/>
                <a:gd name="connsiteY1" fmla="*/ 187262 h 187261"/>
              </a:gdLst>
              <a:ahLst/>
              <a:cxnLst>
                <a:cxn ang="0">
                  <a:pos x="connsiteX0" y="connsiteY0"/>
                </a:cxn>
                <a:cxn ang="0">
                  <a:pos x="connsiteX1" y="connsiteY1"/>
                </a:cxn>
              </a:cxnLst>
              <a:rect l="l" t="t" r="r" b="b"/>
              <a:pathLst>
                <a:path w="1033156" h="187261">
                  <a:moveTo>
                    <a:pt x="1033157" y="0"/>
                  </a:moveTo>
                  <a:lnTo>
                    <a:pt x="0" y="187262"/>
                  </a:lnTo>
                </a:path>
              </a:pathLst>
            </a:custGeom>
            <a:ln w="19050" cap="rnd">
              <a:solidFill>
                <a:srgbClr val="B3B0AD"/>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828708F6-78D1-A95E-68FD-B271C5C5FDFF}"/>
                </a:ext>
              </a:extLst>
            </p:cNvPr>
            <p:cNvSpPr/>
            <p:nvPr/>
          </p:nvSpPr>
          <p:spPr>
            <a:xfrm>
              <a:off x="6217234" y="3378117"/>
              <a:ext cx="427720" cy="516883"/>
            </a:xfrm>
            <a:custGeom>
              <a:avLst/>
              <a:gdLst>
                <a:gd name="connsiteX0" fmla="*/ 427720 w 427720"/>
                <a:gd name="connsiteY0" fmla="*/ 0 h 516883"/>
                <a:gd name="connsiteX1" fmla="*/ 0 w 427720"/>
                <a:gd name="connsiteY1" fmla="*/ 516884 h 516883"/>
              </a:gdLst>
              <a:ahLst/>
              <a:cxnLst>
                <a:cxn ang="0">
                  <a:pos x="connsiteX0" y="connsiteY0"/>
                </a:cxn>
                <a:cxn ang="0">
                  <a:pos x="connsiteX1" y="connsiteY1"/>
                </a:cxn>
              </a:cxnLst>
              <a:rect l="l" t="t" r="r" b="b"/>
              <a:pathLst>
                <a:path w="427720" h="516883">
                  <a:moveTo>
                    <a:pt x="427720" y="0"/>
                  </a:moveTo>
                  <a:lnTo>
                    <a:pt x="0" y="516884"/>
                  </a:lnTo>
                </a:path>
              </a:pathLst>
            </a:custGeom>
            <a:ln w="19050" cap="rnd">
              <a:solidFill>
                <a:srgbClr val="B3B0AD"/>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2399A0-8ACB-36F6-0830-94EE475610FA}"/>
                </a:ext>
              </a:extLst>
            </p:cNvPr>
            <p:cNvSpPr/>
            <p:nvPr/>
          </p:nvSpPr>
          <p:spPr>
            <a:xfrm>
              <a:off x="6378253" y="3293617"/>
              <a:ext cx="662626" cy="235252"/>
            </a:xfrm>
            <a:custGeom>
              <a:avLst/>
              <a:gdLst>
                <a:gd name="connsiteX0" fmla="*/ 662626 w 662626"/>
                <a:gd name="connsiteY0" fmla="*/ 1935 h 235252"/>
                <a:gd name="connsiteX1" fmla="*/ 662502 w 662626"/>
                <a:gd name="connsiteY1" fmla="*/ 45191 h 235252"/>
                <a:gd name="connsiteX2" fmla="*/ 566233 w 662626"/>
                <a:gd name="connsiteY2" fmla="*/ 179333 h 235252"/>
                <a:gd name="connsiteX3" fmla="*/ 97803 w 662626"/>
                <a:gd name="connsiteY3" fmla="*/ 179296 h 235252"/>
                <a:gd name="connsiteX4" fmla="*/ 0 w 662626"/>
                <a:gd name="connsiteY4" fmla="*/ 43256 h 235252"/>
                <a:gd name="connsiteX5" fmla="*/ 124 w 662626"/>
                <a:gd name="connsiteY5" fmla="*/ 0 h 235252"/>
                <a:gd name="connsiteX6" fmla="*/ 97927 w 662626"/>
                <a:gd name="connsiteY6" fmla="*/ 136041 h 235252"/>
                <a:gd name="connsiteX7" fmla="*/ 566357 w 662626"/>
                <a:gd name="connsiteY7" fmla="*/ 136078 h 235252"/>
                <a:gd name="connsiteX8" fmla="*/ 662626 w 662626"/>
                <a:gd name="connsiteY8" fmla="*/ 1935 h 23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626" h="235252">
                  <a:moveTo>
                    <a:pt x="662626" y="1935"/>
                  </a:moveTo>
                  <a:lnTo>
                    <a:pt x="662502" y="45191"/>
                  </a:lnTo>
                  <a:cubicBezTo>
                    <a:pt x="662369" y="93768"/>
                    <a:pt x="630298" y="142271"/>
                    <a:pt x="566233" y="179333"/>
                  </a:cubicBezTo>
                  <a:cubicBezTo>
                    <a:pt x="437360" y="253897"/>
                    <a:pt x="227591" y="253899"/>
                    <a:pt x="97803" y="179296"/>
                  </a:cubicBezTo>
                  <a:cubicBezTo>
                    <a:pt x="32481" y="141750"/>
                    <a:pt x="-142" y="92462"/>
                    <a:pt x="0" y="43256"/>
                  </a:cubicBezTo>
                  <a:lnTo>
                    <a:pt x="124" y="0"/>
                  </a:lnTo>
                  <a:cubicBezTo>
                    <a:pt x="-19" y="49206"/>
                    <a:pt x="32605" y="98493"/>
                    <a:pt x="97927" y="136041"/>
                  </a:cubicBezTo>
                  <a:cubicBezTo>
                    <a:pt x="227715" y="210643"/>
                    <a:pt x="437474" y="210643"/>
                    <a:pt x="566357" y="136078"/>
                  </a:cubicBezTo>
                  <a:cubicBezTo>
                    <a:pt x="630422" y="99015"/>
                    <a:pt x="662483" y="50512"/>
                    <a:pt x="662626" y="1935"/>
                  </a:cubicBezTo>
                  <a:close/>
                </a:path>
              </a:pathLst>
            </a:custGeom>
            <a:solidFill>
              <a:srgbClr val="C8C8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232BAB8-B175-1EAE-9E1F-223BD2442011}"/>
                </a:ext>
              </a:extLst>
            </p:cNvPr>
            <p:cNvSpPr/>
            <p:nvPr/>
          </p:nvSpPr>
          <p:spPr>
            <a:xfrm>
              <a:off x="6378256" y="3113256"/>
              <a:ext cx="662624" cy="384245"/>
            </a:xfrm>
            <a:custGeom>
              <a:avLst/>
              <a:gdLst>
                <a:gd name="connsiteX0" fmla="*/ 564812 w 662624"/>
                <a:gd name="connsiteY0" fmla="*/ 56275 h 384245"/>
                <a:gd name="connsiteX1" fmla="*/ 566345 w 662624"/>
                <a:gd name="connsiteY1" fmla="*/ 328003 h 384245"/>
                <a:gd name="connsiteX2" fmla="*/ 97820 w 662624"/>
                <a:gd name="connsiteY2" fmla="*/ 327966 h 384245"/>
                <a:gd name="connsiteX3" fmla="*/ 96229 w 662624"/>
                <a:gd name="connsiteY3" fmla="*/ 56278 h 384245"/>
                <a:gd name="connsiteX4" fmla="*/ 564812 w 662624"/>
                <a:gd name="connsiteY4" fmla="*/ 56275 h 384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624" h="384245">
                  <a:moveTo>
                    <a:pt x="564812" y="56275"/>
                  </a:moveTo>
                  <a:cubicBezTo>
                    <a:pt x="694628" y="131308"/>
                    <a:pt x="695314" y="252968"/>
                    <a:pt x="566345" y="328003"/>
                  </a:cubicBezTo>
                  <a:cubicBezTo>
                    <a:pt x="437434" y="402998"/>
                    <a:pt x="227636" y="402999"/>
                    <a:pt x="97820" y="327966"/>
                  </a:cubicBezTo>
                  <a:cubicBezTo>
                    <a:pt x="-31996" y="252932"/>
                    <a:pt x="-32682" y="131272"/>
                    <a:pt x="96229" y="56278"/>
                  </a:cubicBezTo>
                  <a:cubicBezTo>
                    <a:pt x="225198" y="-18758"/>
                    <a:pt x="434996" y="-18759"/>
                    <a:pt x="564812" y="56275"/>
                  </a:cubicBez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F725BF26-F4CB-24DC-C51A-CAA97A8ACCB3}"/>
                </a:ext>
              </a:extLst>
            </p:cNvPr>
            <p:cNvSpPr/>
            <p:nvPr/>
          </p:nvSpPr>
          <p:spPr>
            <a:xfrm>
              <a:off x="6524625" y="2990850"/>
              <a:ext cx="180975" cy="314325"/>
            </a:xfrm>
            <a:custGeom>
              <a:avLst/>
              <a:gdLst>
                <a:gd name="connsiteX0" fmla="*/ 0 w 180975"/>
                <a:gd name="connsiteY0" fmla="*/ 0 h 314325"/>
                <a:gd name="connsiteX1" fmla="*/ 180975 w 180975"/>
                <a:gd name="connsiteY1" fmla="*/ 104775 h 314325"/>
                <a:gd name="connsiteX2" fmla="*/ 180975 w 180975"/>
                <a:gd name="connsiteY2" fmla="*/ 314325 h 314325"/>
                <a:gd name="connsiteX3" fmla="*/ 0 w 180975"/>
                <a:gd name="connsiteY3" fmla="*/ 209550 h 314325"/>
                <a:gd name="connsiteX4" fmla="*/ 0 w 180975"/>
                <a:gd name="connsiteY4" fmla="*/ 0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314325">
                  <a:moveTo>
                    <a:pt x="0" y="0"/>
                  </a:moveTo>
                  <a:lnTo>
                    <a:pt x="180975" y="104775"/>
                  </a:lnTo>
                  <a:lnTo>
                    <a:pt x="180975" y="314325"/>
                  </a:lnTo>
                  <a:lnTo>
                    <a:pt x="0" y="209550"/>
                  </a:lnTo>
                  <a:lnTo>
                    <a:pt x="0" y="0"/>
                  </a:lnTo>
                  <a:close/>
                </a:path>
              </a:pathLst>
            </a:custGeom>
            <a:gradFill>
              <a:gsLst>
                <a:gs pos="0">
                  <a:srgbClr val="68D6F7"/>
                </a:gs>
                <a:gs pos="95833">
                  <a:srgbClr val="32B0E7"/>
                </a:gs>
              </a:gsLst>
              <a:lin ang="5330981"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9B6CBF41-182F-0380-EB68-687FF31EBC85}"/>
                </a:ext>
              </a:extLst>
            </p:cNvPr>
            <p:cNvSpPr/>
            <p:nvPr/>
          </p:nvSpPr>
          <p:spPr>
            <a:xfrm>
              <a:off x="6524625" y="2886075"/>
              <a:ext cx="361950" cy="209550"/>
            </a:xfrm>
            <a:custGeom>
              <a:avLst/>
              <a:gdLst>
                <a:gd name="connsiteX0" fmla="*/ 0 w 361950"/>
                <a:gd name="connsiteY0" fmla="*/ 104775 h 209550"/>
                <a:gd name="connsiteX1" fmla="*/ 180975 w 361950"/>
                <a:gd name="connsiteY1" fmla="*/ 0 h 209550"/>
                <a:gd name="connsiteX2" fmla="*/ 361950 w 361950"/>
                <a:gd name="connsiteY2" fmla="*/ 104775 h 209550"/>
                <a:gd name="connsiteX3" fmla="*/ 180975 w 361950"/>
                <a:gd name="connsiteY3" fmla="*/ 209550 h 209550"/>
                <a:gd name="connsiteX4" fmla="*/ 0 w 361950"/>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09550">
                  <a:moveTo>
                    <a:pt x="0" y="104775"/>
                  </a:moveTo>
                  <a:lnTo>
                    <a:pt x="180975" y="0"/>
                  </a:lnTo>
                  <a:lnTo>
                    <a:pt x="361950" y="104775"/>
                  </a:lnTo>
                  <a:lnTo>
                    <a:pt x="180975" y="209550"/>
                  </a:lnTo>
                  <a:lnTo>
                    <a:pt x="0" y="104775"/>
                  </a:lnTo>
                  <a:close/>
                </a:path>
              </a:pathLst>
            </a:custGeom>
            <a:solidFill>
              <a:srgbClr val="50E6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D0D5221-BD80-2DFF-5C31-D1A6940E05AA}"/>
                </a:ext>
              </a:extLst>
            </p:cNvPr>
            <p:cNvSpPr/>
            <p:nvPr/>
          </p:nvSpPr>
          <p:spPr>
            <a:xfrm>
              <a:off x="6705600" y="2990850"/>
              <a:ext cx="180975" cy="314325"/>
            </a:xfrm>
            <a:custGeom>
              <a:avLst/>
              <a:gdLst>
                <a:gd name="connsiteX0" fmla="*/ 0 w 180975"/>
                <a:gd name="connsiteY0" fmla="*/ 104775 h 314325"/>
                <a:gd name="connsiteX1" fmla="*/ 180975 w 180975"/>
                <a:gd name="connsiteY1" fmla="*/ 0 h 314325"/>
                <a:gd name="connsiteX2" fmla="*/ 180975 w 180975"/>
                <a:gd name="connsiteY2" fmla="*/ 209550 h 314325"/>
                <a:gd name="connsiteX3" fmla="*/ 0 w 180975"/>
                <a:gd name="connsiteY3" fmla="*/ 314325 h 314325"/>
                <a:gd name="connsiteX4" fmla="*/ 0 w 180975"/>
                <a:gd name="connsiteY4" fmla="*/ 10477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314325">
                  <a:moveTo>
                    <a:pt x="0" y="104775"/>
                  </a:moveTo>
                  <a:lnTo>
                    <a:pt x="180975" y="0"/>
                  </a:lnTo>
                  <a:lnTo>
                    <a:pt x="180975" y="209550"/>
                  </a:lnTo>
                  <a:lnTo>
                    <a:pt x="0" y="314325"/>
                  </a:lnTo>
                  <a:lnTo>
                    <a:pt x="0" y="104775"/>
                  </a:lnTo>
                  <a:close/>
                </a:path>
              </a:pathLst>
            </a:custGeom>
            <a:gradFill>
              <a:gsLst>
                <a:gs pos="0">
                  <a:srgbClr val="0078D4"/>
                </a:gs>
                <a:gs pos="50000">
                  <a:srgbClr val="0069BA"/>
                </a:gs>
                <a:gs pos="100000">
                  <a:srgbClr val="005BA1"/>
                </a:gs>
              </a:gsLst>
              <a:lin ang="3597935"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286B217C-1B8E-2A02-1AC8-055E1F196ACC}"/>
                </a:ext>
              </a:extLst>
            </p:cNvPr>
            <p:cNvSpPr/>
            <p:nvPr/>
          </p:nvSpPr>
          <p:spPr>
            <a:xfrm>
              <a:off x="5362574" y="2909481"/>
              <a:ext cx="433959" cy="835257"/>
            </a:xfrm>
            <a:custGeom>
              <a:avLst/>
              <a:gdLst>
                <a:gd name="connsiteX0" fmla="*/ 393573 w 433959"/>
                <a:gd name="connsiteY0" fmla="*/ 208536 h 835257"/>
                <a:gd name="connsiteX1" fmla="*/ 433959 w 433959"/>
                <a:gd name="connsiteY1" fmla="*/ 278545 h 835257"/>
                <a:gd name="connsiteX2" fmla="*/ 432435 w 433959"/>
                <a:gd name="connsiteY2" fmla="*/ 806516 h 835257"/>
                <a:gd name="connsiteX3" fmla="*/ 391764 w 433959"/>
                <a:gd name="connsiteY3" fmla="*/ 829662 h 835257"/>
                <a:gd name="connsiteX4" fmla="*/ 40386 w 433959"/>
                <a:gd name="connsiteY4" fmla="*/ 626779 h 835257"/>
                <a:gd name="connsiteX5" fmla="*/ 0 w 433959"/>
                <a:gd name="connsiteY5" fmla="*/ 556770 h 835257"/>
                <a:gd name="connsiteX6" fmla="*/ 1524 w 433959"/>
                <a:gd name="connsiteY6" fmla="*/ 28799 h 835257"/>
                <a:gd name="connsiteX7" fmla="*/ 42196 w 433959"/>
                <a:gd name="connsiteY7" fmla="*/ 5558 h 835257"/>
                <a:gd name="connsiteX8" fmla="*/ 393573 w 433959"/>
                <a:gd name="connsiteY8" fmla="*/ 208441 h 835257"/>
                <a:gd name="connsiteX9" fmla="*/ 393573 w 433959"/>
                <a:gd name="connsiteY9" fmla="*/ 208536 h 83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7">
                  <a:moveTo>
                    <a:pt x="393573" y="208536"/>
                  </a:moveTo>
                  <a:cubicBezTo>
                    <a:pt x="415957" y="221490"/>
                    <a:pt x="434055" y="252827"/>
                    <a:pt x="433959" y="278545"/>
                  </a:cubicBezTo>
                  <a:lnTo>
                    <a:pt x="432435" y="806516"/>
                  </a:lnTo>
                  <a:cubicBezTo>
                    <a:pt x="432435" y="832329"/>
                    <a:pt x="414147" y="842616"/>
                    <a:pt x="391764" y="829662"/>
                  </a:cubicBezTo>
                  <a:lnTo>
                    <a:pt x="40386" y="626779"/>
                  </a:lnTo>
                  <a:cubicBezTo>
                    <a:pt x="18003" y="613825"/>
                    <a:pt x="-95" y="582583"/>
                    <a:pt x="0" y="556770"/>
                  </a:cubicBezTo>
                  <a:lnTo>
                    <a:pt x="1524" y="28799"/>
                  </a:lnTo>
                  <a:cubicBezTo>
                    <a:pt x="1524" y="3082"/>
                    <a:pt x="19812" y="-7396"/>
                    <a:pt x="42196" y="5558"/>
                  </a:cubicBezTo>
                  <a:lnTo>
                    <a:pt x="393573" y="208441"/>
                  </a:lnTo>
                  <a:lnTo>
                    <a:pt x="393573" y="208536"/>
                  </a:lnTo>
                  <a:close/>
                </a:path>
              </a:pathLst>
            </a:custGeom>
            <a:gradFill>
              <a:gsLst>
                <a:gs pos="0">
                  <a:srgbClr val="68D6F7"/>
                </a:gs>
                <a:gs pos="95833">
                  <a:srgbClr val="32B0E7"/>
                </a:gs>
              </a:gsLst>
              <a:lin ang="2710846"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6B02826F-BBF5-F684-9A61-50635E49CF74}"/>
                </a:ext>
              </a:extLst>
            </p:cNvPr>
            <p:cNvSpPr/>
            <p:nvPr/>
          </p:nvSpPr>
          <p:spPr>
            <a:xfrm>
              <a:off x="5467350" y="3171825"/>
              <a:ext cx="208951" cy="345264"/>
            </a:xfrm>
            <a:custGeom>
              <a:avLst/>
              <a:gdLst>
                <a:gd name="connsiteX0" fmla="*/ 94870 w 208951"/>
                <a:gd name="connsiteY0" fmla="*/ 0 h 345264"/>
                <a:gd name="connsiteX1" fmla="*/ 0 w 208951"/>
                <a:gd name="connsiteY1" fmla="*/ 224527 h 345264"/>
                <a:gd name="connsiteX2" fmla="*/ 25660 w 208951"/>
                <a:gd name="connsiteY2" fmla="*/ 239338 h 345264"/>
                <a:gd name="connsiteX3" fmla="*/ 50596 w 208951"/>
                <a:gd name="connsiteY3" fmla="*/ 180351 h 345264"/>
                <a:gd name="connsiteX4" fmla="*/ 151553 w 208951"/>
                <a:gd name="connsiteY4" fmla="*/ 238661 h 345264"/>
                <a:gd name="connsiteX5" fmla="*/ 173391 w 208951"/>
                <a:gd name="connsiteY5" fmla="*/ 324681 h 345264"/>
                <a:gd name="connsiteX6" fmla="*/ 208952 w 208951"/>
                <a:gd name="connsiteY6" fmla="*/ 345264 h 345264"/>
                <a:gd name="connsiteX7" fmla="*/ 125834 w 208951"/>
                <a:gd name="connsiteY7" fmla="*/ 17888 h 345264"/>
                <a:gd name="connsiteX8" fmla="*/ 94870 w 208951"/>
                <a:gd name="connsiteY8" fmla="*/ 0 h 345264"/>
                <a:gd name="connsiteX9" fmla="*/ 62123 w 208951"/>
                <a:gd name="connsiteY9" fmla="*/ 153024 h 345264"/>
                <a:gd name="connsiteX10" fmla="*/ 104437 w 208951"/>
                <a:gd name="connsiteY10" fmla="*/ 52929 h 345264"/>
                <a:gd name="connsiteX11" fmla="*/ 141487 w 208951"/>
                <a:gd name="connsiteY11" fmla="*/ 198886 h 345264"/>
                <a:gd name="connsiteX12" fmla="*/ 62123 w 208951"/>
                <a:gd name="connsiteY12" fmla="*/ 153024 h 34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951" h="345264">
                  <a:moveTo>
                    <a:pt x="94870" y="0"/>
                  </a:moveTo>
                  <a:lnTo>
                    <a:pt x="0" y="224527"/>
                  </a:lnTo>
                  <a:lnTo>
                    <a:pt x="25660" y="239338"/>
                  </a:lnTo>
                  <a:lnTo>
                    <a:pt x="50596" y="180351"/>
                  </a:lnTo>
                  <a:lnTo>
                    <a:pt x="151553" y="238661"/>
                  </a:lnTo>
                  <a:lnTo>
                    <a:pt x="173391" y="324681"/>
                  </a:lnTo>
                  <a:lnTo>
                    <a:pt x="208952" y="345264"/>
                  </a:lnTo>
                  <a:lnTo>
                    <a:pt x="125834" y="17888"/>
                  </a:lnTo>
                  <a:lnTo>
                    <a:pt x="94870" y="0"/>
                  </a:lnTo>
                  <a:close/>
                  <a:moveTo>
                    <a:pt x="62123" y="153024"/>
                  </a:moveTo>
                  <a:lnTo>
                    <a:pt x="104437" y="52929"/>
                  </a:lnTo>
                  <a:lnTo>
                    <a:pt x="141487" y="198886"/>
                  </a:lnTo>
                  <a:lnTo>
                    <a:pt x="62123" y="153024"/>
                  </a:lnTo>
                  <a:close/>
                </a:path>
              </a:pathLst>
            </a:custGeom>
            <a:solidFill>
              <a:srgbClr val="C9F0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18A1C6C4-D9F7-E1C5-AF14-7B700E621B61}"/>
                </a:ext>
              </a:extLst>
            </p:cNvPr>
            <p:cNvSpPr/>
            <p:nvPr/>
          </p:nvSpPr>
          <p:spPr>
            <a:xfrm>
              <a:off x="5376102" y="2886074"/>
              <a:ext cx="460817" cy="855830"/>
            </a:xfrm>
            <a:custGeom>
              <a:avLst/>
              <a:gdLst>
                <a:gd name="connsiteX0" fmla="*/ 460056 w 460817"/>
                <a:gd name="connsiteY0" fmla="*/ 269566 h 855830"/>
                <a:gd name="connsiteX1" fmla="*/ 459579 w 460817"/>
                <a:gd name="connsiteY1" fmla="*/ 266804 h 855830"/>
                <a:gd name="connsiteX2" fmla="*/ 458055 w 460817"/>
                <a:gd name="connsiteY2" fmla="*/ 260136 h 855830"/>
                <a:gd name="connsiteX3" fmla="*/ 457293 w 460817"/>
                <a:gd name="connsiteY3" fmla="*/ 257279 h 855830"/>
                <a:gd name="connsiteX4" fmla="*/ 454341 w 460817"/>
                <a:gd name="connsiteY4" fmla="*/ 249183 h 855830"/>
                <a:gd name="connsiteX5" fmla="*/ 453960 w 460817"/>
                <a:gd name="connsiteY5" fmla="*/ 248135 h 855830"/>
                <a:gd name="connsiteX6" fmla="*/ 453960 w 460817"/>
                <a:gd name="connsiteY6" fmla="*/ 247944 h 855830"/>
                <a:gd name="connsiteX7" fmla="*/ 449578 w 460817"/>
                <a:gd name="connsiteY7" fmla="*/ 239562 h 855830"/>
                <a:gd name="connsiteX8" fmla="*/ 448340 w 460817"/>
                <a:gd name="connsiteY8" fmla="*/ 237467 h 855830"/>
                <a:gd name="connsiteX9" fmla="*/ 443577 w 460817"/>
                <a:gd name="connsiteY9" fmla="*/ 230228 h 855830"/>
                <a:gd name="connsiteX10" fmla="*/ 442911 w 460817"/>
                <a:gd name="connsiteY10" fmla="*/ 229275 h 855830"/>
                <a:gd name="connsiteX11" fmla="*/ 438148 w 460817"/>
                <a:gd name="connsiteY11" fmla="*/ 223275 h 855830"/>
                <a:gd name="connsiteX12" fmla="*/ 436815 w 460817"/>
                <a:gd name="connsiteY12" fmla="*/ 221846 h 855830"/>
                <a:gd name="connsiteX13" fmla="*/ 435672 w 460817"/>
                <a:gd name="connsiteY13" fmla="*/ 220608 h 855830"/>
                <a:gd name="connsiteX14" fmla="*/ 429006 w 460817"/>
                <a:gd name="connsiteY14" fmla="*/ 214416 h 855830"/>
                <a:gd name="connsiteX15" fmla="*/ 427958 w 460817"/>
                <a:gd name="connsiteY15" fmla="*/ 213654 h 855830"/>
                <a:gd name="connsiteX16" fmla="*/ 420434 w 460817"/>
                <a:gd name="connsiteY16" fmla="*/ 208416 h 855830"/>
                <a:gd name="connsiteX17" fmla="*/ 69056 w 460817"/>
                <a:gd name="connsiteY17" fmla="*/ 5533 h 855830"/>
                <a:gd name="connsiteX18" fmla="*/ 40291 w 460817"/>
                <a:gd name="connsiteY18" fmla="*/ 2676 h 855830"/>
                <a:gd name="connsiteX19" fmla="*/ 0 w 460817"/>
                <a:gd name="connsiteY19" fmla="*/ 26107 h 855830"/>
                <a:gd name="connsiteX20" fmla="*/ 28766 w 460817"/>
                <a:gd name="connsiteY20" fmla="*/ 28965 h 855830"/>
                <a:gd name="connsiteX21" fmla="*/ 380143 w 460817"/>
                <a:gd name="connsiteY21" fmla="*/ 231847 h 855830"/>
                <a:gd name="connsiteX22" fmla="*/ 387668 w 460817"/>
                <a:gd name="connsiteY22" fmla="*/ 237086 h 855830"/>
                <a:gd name="connsiteX23" fmla="*/ 388620 w 460817"/>
                <a:gd name="connsiteY23" fmla="*/ 237848 h 855830"/>
                <a:gd name="connsiteX24" fmla="*/ 395287 w 460817"/>
                <a:gd name="connsiteY24" fmla="*/ 244039 h 855830"/>
                <a:gd name="connsiteX25" fmla="*/ 396431 w 460817"/>
                <a:gd name="connsiteY25" fmla="*/ 245277 h 855830"/>
                <a:gd name="connsiteX26" fmla="*/ 402622 w 460817"/>
                <a:gd name="connsiteY26" fmla="*/ 252707 h 855830"/>
                <a:gd name="connsiteX27" fmla="*/ 403289 w 460817"/>
                <a:gd name="connsiteY27" fmla="*/ 253659 h 855830"/>
                <a:gd name="connsiteX28" fmla="*/ 408051 w 460817"/>
                <a:gd name="connsiteY28" fmla="*/ 260994 h 855830"/>
                <a:gd name="connsiteX29" fmla="*/ 409289 w 460817"/>
                <a:gd name="connsiteY29" fmla="*/ 263089 h 855830"/>
                <a:gd name="connsiteX30" fmla="*/ 413671 w 460817"/>
                <a:gd name="connsiteY30" fmla="*/ 271662 h 855830"/>
                <a:gd name="connsiteX31" fmla="*/ 414052 w 460817"/>
                <a:gd name="connsiteY31" fmla="*/ 272614 h 855830"/>
                <a:gd name="connsiteX32" fmla="*/ 417005 w 460817"/>
                <a:gd name="connsiteY32" fmla="*/ 280710 h 855830"/>
                <a:gd name="connsiteX33" fmla="*/ 417766 w 460817"/>
                <a:gd name="connsiteY33" fmla="*/ 283473 h 855830"/>
                <a:gd name="connsiteX34" fmla="*/ 419291 w 460817"/>
                <a:gd name="connsiteY34" fmla="*/ 290140 h 855830"/>
                <a:gd name="connsiteX35" fmla="*/ 419767 w 460817"/>
                <a:gd name="connsiteY35" fmla="*/ 292902 h 855830"/>
                <a:gd name="connsiteX36" fmla="*/ 420529 w 460817"/>
                <a:gd name="connsiteY36" fmla="*/ 301856 h 855830"/>
                <a:gd name="connsiteX37" fmla="*/ 419005 w 460817"/>
                <a:gd name="connsiteY37" fmla="*/ 829828 h 855830"/>
                <a:gd name="connsiteX38" fmla="*/ 407194 w 460817"/>
                <a:gd name="connsiteY38" fmla="*/ 855831 h 855830"/>
                <a:gd name="connsiteX39" fmla="*/ 447483 w 460817"/>
                <a:gd name="connsiteY39" fmla="*/ 832399 h 855830"/>
                <a:gd name="connsiteX40" fmla="*/ 459294 w 460817"/>
                <a:gd name="connsiteY40" fmla="*/ 806396 h 855830"/>
                <a:gd name="connsiteX41" fmla="*/ 460818 w 460817"/>
                <a:gd name="connsiteY41" fmla="*/ 278424 h 855830"/>
                <a:gd name="connsiteX42" fmla="*/ 460056 w 460817"/>
                <a:gd name="connsiteY42" fmla="*/ 269471 h 855830"/>
                <a:gd name="connsiteX43" fmla="*/ 460056 w 460817"/>
                <a:gd name="connsiteY43" fmla="*/ 269566 h 85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30">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8" y="218417"/>
                    <a:pt x="431292" y="216321"/>
                    <a:pt x="429006" y="214416"/>
                  </a:cubicBezTo>
                  <a:cubicBezTo>
                    <a:pt x="428625" y="214131"/>
                    <a:pt x="428339" y="213940"/>
                    <a:pt x="427958" y="213654"/>
                  </a:cubicBezTo>
                  <a:cubicBezTo>
                    <a:pt x="425482" y="211749"/>
                    <a:pt x="423005" y="209940"/>
                    <a:pt x="420434" y="208416"/>
                  </a:cubicBezTo>
                  <a:lnTo>
                    <a:pt x="69056" y="5533"/>
                  </a:lnTo>
                  <a:cubicBezTo>
                    <a:pt x="57817" y="-944"/>
                    <a:pt x="47625" y="-1515"/>
                    <a:pt x="40291" y="2676"/>
                  </a:cubicBezTo>
                  <a:lnTo>
                    <a:pt x="0" y="26107"/>
                  </a:lnTo>
                  <a:cubicBezTo>
                    <a:pt x="7334" y="21821"/>
                    <a:pt x="17526" y="22392"/>
                    <a:pt x="28766" y="28965"/>
                  </a:cubicBezTo>
                  <a:lnTo>
                    <a:pt x="380143" y="231847"/>
                  </a:lnTo>
                  <a:cubicBezTo>
                    <a:pt x="382714" y="233371"/>
                    <a:pt x="385191" y="235086"/>
                    <a:pt x="387668" y="237086"/>
                  </a:cubicBezTo>
                  <a:cubicBezTo>
                    <a:pt x="387953" y="237372"/>
                    <a:pt x="388334" y="237562"/>
                    <a:pt x="388620" y="237848"/>
                  </a:cubicBezTo>
                  <a:cubicBezTo>
                    <a:pt x="390906" y="239753"/>
                    <a:pt x="393097" y="241848"/>
                    <a:pt x="395287" y="244039"/>
                  </a:cubicBezTo>
                  <a:cubicBezTo>
                    <a:pt x="395668" y="244420"/>
                    <a:pt x="396049" y="244896"/>
                    <a:pt x="396431" y="245277"/>
                  </a:cubicBezTo>
                  <a:cubicBezTo>
                    <a:pt x="398621" y="247659"/>
                    <a:pt x="400717" y="250135"/>
                    <a:pt x="402622" y="252707"/>
                  </a:cubicBezTo>
                  <a:cubicBezTo>
                    <a:pt x="402812" y="252993"/>
                    <a:pt x="403003" y="253278"/>
                    <a:pt x="403289" y="253659"/>
                  </a:cubicBezTo>
                  <a:cubicBezTo>
                    <a:pt x="405003" y="256041"/>
                    <a:pt x="406527" y="258422"/>
                    <a:pt x="408051" y="260994"/>
                  </a:cubicBezTo>
                  <a:cubicBezTo>
                    <a:pt x="408432" y="261660"/>
                    <a:pt x="408908" y="262422"/>
                    <a:pt x="409289" y="263089"/>
                  </a:cubicBezTo>
                  <a:cubicBezTo>
                    <a:pt x="410909" y="265947"/>
                    <a:pt x="412337" y="268804"/>
                    <a:pt x="413671" y="271662"/>
                  </a:cubicBezTo>
                  <a:cubicBezTo>
                    <a:pt x="413766" y="271947"/>
                    <a:pt x="413957" y="272328"/>
                    <a:pt x="414052" y="272614"/>
                  </a:cubicBezTo>
                  <a:cubicBezTo>
                    <a:pt x="415195" y="275281"/>
                    <a:pt x="416147" y="278043"/>
                    <a:pt x="417005" y="280710"/>
                  </a:cubicBezTo>
                  <a:cubicBezTo>
                    <a:pt x="417290" y="281663"/>
                    <a:pt x="417576" y="282615"/>
                    <a:pt x="417766" y="283473"/>
                  </a:cubicBezTo>
                  <a:cubicBezTo>
                    <a:pt x="418433" y="285663"/>
                    <a:pt x="418910" y="287949"/>
                    <a:pt x="419291" y="290140"/>
                  </a:cubicBezTo>
                  <a:cubicBezTo>
                    <a:pt x="419481" y="291093"/>
                    <a:pt x="419672" y="291950"/>
                    <a:pt x="419767" y="292902"/>
                  </a:cubicBezTo>
                  <a:cubicBezTo>
                    <a:pt x="420243" y="295950"/>
                    <a:pt x="420529" y="298903"/>
                    <a:pt x="420529" y="301856"/>
                  </a:cubicBezTo>
                  <a:lnTo>
                    <a:pt x="419005" y="829828"/>
                  </a:lnTo>
                  <a:cubicBezTo>
                    <a:pt x="419005" y="842591"/>
                    <a:pt x="414433" y="851640"/>
                    <a:pt x="407194" y="855831"/>
                  </a:cubicBezTo>
                  <a:lnTo>
                    <a:pt x="447483" y="832399"/>
                  </a:lnTo>
                  <a:cubicBezTo>
                    <a:pt x="454722" y="828208"/>
                    <a:pt x="459294" y="819160"/>
                    <a:pt x="459294" y="806396"/>
                  </a:cubicBezTo>
                  <a:lnTo>
                    <a:pt x="460818" y="278424"/>
                  </a:lnTo>
                  <a:cubicBezTo>
                    <a:pt x="460818" y="275472"/>
                    <a:pt x="460532" y="272519"/>
                    <a:pt x="460056" y="269471"/>
                  </a:cubicBezTo>
                  <a:lnTo>
                    <a:pt x="460056" y="269566"/>
                  </a:lnTo>
                  <a:close/>
                </a:path>
              </a:pathLst>
            </a:custGeom>
            <a:gradFill>
              <a:gsLst>
                <a:gs pos="0">
                  <a:srgbClr val="2081D4"/>
                </a:gs>
                <a:gs pos="47917">
                  <a:srgbClr val="45CAF2"/>
                </a:gs>
                <a:gs pos="100000">
                  <a:srgbClr val="8CEFFF"/>
                </a:gs>
              </a:gsLst>
              <a:lin ang="1620000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A8CF730-DA81-0571-86D9-0AA7D38149F6}"/>
                </a:ext>
              </a:extLst>
            </p:cNvPr>
            <p:cNvSpPr/>
            <p:nvPr/>
          </p:nvSpPr>
          <p:spPr>
            <a:xfrm>
              <a:off x="5915024" y="3214281"/>
              <a:ext cx="433959" cy="835257"/>
            </a:xfrm>
            <a:custGeom>
              <a:avLst/>
              <a:gdLst>
                <a:gd name="connsiteX0" fmla="*/ 393573 w 433959"/>
                <a:gd name="connsiteY0" fmla="*/ 208536 h 835257"/>
                <a:gd name="connsiteX1" fmla="*/ 433959 w 433959"/>
                <a:gd name="connsiteY1" fmla="*/ 278545 h 835257"/>
                <a:gd name="connsiteX2" fmla="*/ 432435 w 433959"/>
                <a:gd name="connsiteY2" fmla="*/ 806516 h 835257"/>
                <a:gd name="connsiteX3" fmla="*/ 391764 w 433959"/>
                <a:gd name="connsiteY3" fmla="*/ 829662 h 835257"/>
                <a:gd name="connsiteX4" fmla="*/ 40386 w 433959"/>
                <a:gd name="connsiteY4" fmla="*/ 626780 h 835257"/>
                <a:gd name="connsiteX5" fmla="*/ 0 w 433959"/>
                <a:gd name="connsiteY5" fmla="*/ 556771 h 835257"/>
                <a:gd name="connsiteX6" fmla="*/ 1524 w 433959"/>
                <a:gd name="connsiteY6" fmla="*/ 28799 h 835257"/>
                <a:gd name="connsiteX7" fmla="*/ 42196 w 433959"/>
                <a:gd name="connsiteY7" fmla="*/ 5558 h 835257"/>
                <a:gd name="connsiteX8" fmla="*/ 393573 w 433959"/>
                <a:gd name="connsiteY8" fmla="*/ 208441 h 835257"/>
                <a:gd name="connsiteX9" fmla="*/ 393573 w 433959"/>
                <a:gd name="connsiteY9" fmla="*/ 208536 h 83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7">
                  <a:moveTo>
                    <a:pt x="393573" y="208536"/>
                  </a:moveTo>
                  <a:cubicBezTo>
                    <a:pt x="415957" y="221490"/>
                    <a:pt x="434055" y="252827"/>
                    <a:pt x="433959" y="278545"/>
                  </a:cubicBezTo>
                  <a:lnTo>
                    <a:pt x="432435" y="806516"/>
                  </a:lnTo>
                  <a:cubicBezTo>
                    <a:pt x="432435" y="832329"/>
                    <a:pt x="414147" y="842616"/>
                    <a:pt x="391764" y="829662"/>
                  </a:cubicBezTo>
                  <a:lnTo>
                    <a:pt x="40386" y="626780"/>
                  </a:lnTo>
                  <a:cubicBezTo>
                    <a:pt x="18003" y="613826"/>
                    <a:pt x="-95" y="582584"/>
                    <a:pt x="0" y="556771"/>
                  </a:cubicBezTo>
                  <a:lnTo>
                    <a:pt x="1524" y="28799"/>
                  </a:lnTo>
                  <a:cubicBezTo>
                    <a:pt x="1524" y="3082"/>
                    <a:pt x="19812" y="-7396"/>
                    <a:pt x="42196" y="5558"/>
                  </a:cubicBezTo>
                  <a:lnTo>
                    <a:pt x="393573" y="208441"/>
                  </a:lnTo>
                  <a:lnTo>
                    <a:pt x="393573" y="208536"/>
                  </a:lnTo>
                  <a:close/>
                </a:path>
              </a:pathLst>
            </a:custGeom>
            <a:gradFill>
              <a:gsLst>
                <a:gs pos="0">
                  <a:srgbClr val="D1ABE6"/>
                </a:gs>
                <a:gs pos="80000">
                  <a:srgbClr val="A864CD"/>
                </a:gs>
                <a:gs pos="100000">
                  <a:srgbClr val="A864CD"/>
                </a:gs>
              </a:gsLst>
              <a:lin ang="3932342"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61E959D5-7D5F-A2B2-31FB-535EA5879100}"/>
                </a:ext>
              </a:extLst>
            </p:cNvPr>
            <p:cNvSpPr/>
            <p:nvPr/>
          </p:nvSpPr>
          <p:spPr>
            <a:xfrm>
              <a:off x="6019797" y="3476625"/>
              <a:ext cx="209553" cy="323615"/>
            </a:xfrm>
            <a:custGeom>
              <a:avLst/>
              <a:gdLst>
                <a:gd name="connsiteX0" fmla="*/ 203818 w 209553"/>
                <a:gd name="connsiteY0" fmla="*/ 230076 h 323615"/>
                <a:gd name="connsiteX1" fmla="*/ 201037 w 209553"/>
                <a:gd name="connsiteY1" fmla="*/ 299704 h 323615"/>
                <a:gd name="connsiteX2" fmla="*/ 148382 w 209553"/>
                <a:gd name="connsiteY2" fmla="*/ 322735 h 323615"/>
                <a:gd name="connsiteX3" fmla="*/ 140972 w 209553"/>
                <a:gd name="connsiteY3" fmla="*/ 320811 h 323615"/>
                <a:gd name="connsiteX4" fmla="*/ 129771 w 209553"/>
                <a:gd name="connsiteY4" fmla="*/ 305695 h 323615"/>
                <a:gd name="connsiteX5" fmla="*/ 136390 w 209553"/>
                <a:gd name="connsiteY5" fmla="*/ 291274 h 323615"/>
                <a:gd name="connsiteX6" fmla="*/ 139524 w 209553"/>
                <a:gd name="connsiteY6" fmla="*/ 291646 h 323615"/>
                <a:gd name="connsiteX7" fmla="*/ 180187 w 209553"/>
                <a:gd name="connsiteY7" fmla="*/ 273424 h 323615"/>
                <a:gd name="connsiteX8" fmla="*/ 181272 w 209553"/>
                <a:gd name="connsiteY8" fmla="*/ 227409 h 323615"/>
                <a:gd name="connsiteX9" fmla="*/ 150297 w 209553"/>
                <a:gd name="connsiteY9" fmla="*/ 173307 h 323615"/>
                <a:gd name="connsiteX10" fmla="*/ 127189 w 209553"/>
                <a:gd name="connsiteY10" fmla="*/ 229524 h 323615"/>
                <a:gd name="connsiteX11" fmla="*/ 103558 w 209553"/>
                <a:gd name="connsiteY11" fmla="*/ 247335 h 323615"/>
                <a:gd name="connsiteX12" fmla="*/ 108177 w 209553"/>
                <a:gd name="connsiteY12" fmla="*/ 262042 h 323615"/>
                <a:gd name="connsiteX13" fmla="*/ 97833 w 209553"/>
                <a:gd name="connsiteY13" fmla="*/ 277434 h 323615"/>
                <a:gd name="connsiteX14" fmla="*/ 87565 w 209553"/>
                <a:gd name="connsiteY14" fmla="*/ 264909 h 323615"/>
                <a:gd name="connsiteX15" fmla="*/ 83622 w 209553"/>
                <a:gd name="connsiteY15" fmla="*/ 253670 h 323615"/>
                <a:gd name="connsiteX16" fmla="*/ 43455 w 209553"/>
                <a:gd name="connsiteY16" fmla="*/ 243611 h 323615"/>
                <a:gd name="connsiteX17" fmla="*/ 4126 w 209553"/>
                <a:gd name="connsiteY17" fmla="*/ 195786 h 323615"/>
                <a:gd name="connsiteX18" fmla="*/ 19709 w 209553"/>
                <a:gd name="connsiteY18" fmla="*/ 122061 h 323615"/>
                <a:gd name="connsiteX19" fmla="*/ 62191 w 209553"/>
                <a:gd name="connsiteY19" fmla="*/ 105680 h 323615"/>
                <a:gd name="connsiteX20" fmla="*/ 68573 w 209553"/>
                <a:gd name="connsiteY20" fmla="*/ 62347 h 323615"/>
                <a:gd name="connsiteX21" fmla="*/ 29406 w 209553"/>
                <a:gd name="connsiteY21" fmla="*/ 37328 h 323615"/>
                <a:gd name="connsiteX22" fmla="*/ 21433 w 209553"/>
                <a:gd name="connsiteY22" fmla="*/ 27805 h 323615"/>
                <a:gd name="connsiteX23" fmla="*/ 18728 w 209553"/>
                <a:gd name="connsiteY23" fmla="*/ 15681 h 323615"/>
                <a:gd name="connsiteX24" fmla="*/ 32216 w 209553"/>
                <a:gd name="connsiteY24" fmla="*/ 11182 h 323615"/>
                <a:gd name="connsiteX25" fmla="*/ 74526 w 209553"/>
                <a:gd name="connsiteY25" fmla="*/ 37813 h 323615"/>
                <a:gd name="connsiteX26" fmla="*/ 84994 w 209553"/>
                <a:gd name="connsiteY26" fmla="*/ 4402 h 323615"/>
                <a:gd name="connsiteX27" fmla="*/ 96481 w 209553"/>
                <a:gd name="connsiteY27" fmla="*/ 1679 h 323615"/>
                <a:gd name="connsiteX28" fmla="*/ 107882 w 209553"/>
                <a:gd name="connsiteY28" fmla="*/ 26845 h 323615"/>
                <a:gd name="connsiteX29" fmla="*/ 100015 w 209553"/>
                <a:gd name="connsiteY29" fmla="*/ 51477 h 323615"/>
                <a:gd name="connsiteX30" fmla="*/ 158222 w 209553"/>
                <a:gd name="connsiteY30" fmla="*/ 71954 h 323615"/>
                <a:gd name="connsiteX31" fmla="*/ 173881 w 209553"/>
                <a:gd name="connsiteY31" fmla="*/ 88998 h 323615"/>
                <a:gd name="connsiteX32" fmla="*/ 166909 w 209553"/>
                <a:gd name="connsiteY32" fmla="*/ 103066 h 323615"/>
                <a:gd name="connsiteX33" fmla="*/ 93566 w 209553"/>
                <a:gd name="connsiteY33" fmla="*/ 76250 h 323615"/>
                <a:gd name="connsiteX34" fmla="*/ 87699 w 209553"/>
                <a:gd name="connsiteY34" fmla="*/ 108637 h 323615"/>
                <a:gd name="connsiteX35" fmla="*/ 129218 w 209553"/>
                <a:gd name="connsiteY35" fmla="*/ 128128 h 323615"/>
                <a:gd name="connsiteX36" fmla="*/ 129332 w 209553"/>
                <a:gd name="connsiteY36" fmla="*/ 125710 h 323615"/>
                <a:gd name="connsiteX37" fmla="*/ 141658 w 209553"/>
                <a:gd name="connsiteY37" fmla="*/ 119213 h 323615"/>
                <a:gd name="connsiteX38" fmla="*/ 150287 w 209553"/>
                <a:gd name="connsiteY38" fmla="*/ 128342 h 323615"/>
                <a:gd name="connsiteX39" fmla="*/ 153640 w 209553"/>
                <a:gd name="connsiteY39" fmla="*/ 140452 h 323615"/>
                <a:gd name="connsiteX40" fmla="*/ 153307 w 209553"/>
                <a:gd name="connsiteY40" fmla="*/ 146906 h 323615"/>
                <a:gd name="connsiteX41" fmla="*/ 154526 w 209553"/>
                <a:gd name="connsiteY41" fmla="*/ 147994 h 323615"/>
                <a:gd name="connsiteX42" fmla="*/ 203818 w 209553"/>
                <a:gd name="connsiteY42" fmla="*/ 230076 h 323615"/>
                <a:gd name="connsiteX43" fmla="*/ 44569 w 209553"/>
                <a:gd name="connsiteY43" fmla="*/ 215703 h 323615"/>
                <a:gd name="connsiteX44" fmla="*/ 59248 w 209553"/>
                <a:gd name="connsiteY44" fmla="*/ 221904 h 323615"/>
                <a:gd name="connsiteX45" fmla="*/ 75192 w 209553"/>
                <a:gd name="connsiteY45" fmla="*/ 221837 h 323615"/>
                <a:gd name="connsiteX46" fmla="*/ 62295 w 209553"/>
                <a:gd name="connsiteY46" fmla="*/ 138405 h 323615"/>
                <a:gd name="connsiteX47" fmla="*/ 38435 w 209553"/>
                <a:gd name="connsiteY47" fmla="*/ 150603 h 323615"/>
                <a:gd name="connsiteX48" fmla="*/ 28406 w 209553"/>
                <a:gd name="connsiteY48" fmla="*/ 193214 h 323615"/>
                <a:gd name="connsiteX49" fmla="*/ 44569 w 209553"/>
                <a:gd name="connsiteY49" fmla="*/ 215703 h 323615"/>
                <a:gd name="connsiteX50" fmla="*/ 109216 w 209553"/>
                <a:gd name="connsiteY50" fmla="*/ 203463 h 323615"/>
                <a:gd name="connsiteX51" fmla="*/ 126437 w 209553"/>
                <a:gd name="connsiteY51" fmla="*/ 154307 h 323615"/>
                <a:gd name="connsiteX52" fmla="*/ 85946 w 209553"/>
                <a:gd name="connsiteY52" fmla="*/ 137425 h 323615"/>
                <a:gd name="connsiteX53" fmla="*/ 95747 w 209553"/>
                <a:gd name="connsiteY53" fmla="*/ 215417 h 323615"/>
                <a:gd name="connsiteX54" fmla="*/ 109216 w 209553"/>
                <a:gd name="connsiteY54" fmla="*/ 203463 h 32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9553" h="323615">
                  <a:moveTo>
                    <a:pt x="203818" y="230076"/>
                  </a:moveTo>
                  <a:cubicBezTo>
                    <a:pt x="212343" y="259708"/>
                    <a:pt x="211324" y="285750"/>
                    <a:pt x="201037" y="299704"/>
                  </a:cubicBezTo>
                  <a:cubicBezTo>
                    <a:pt x="181149" y="326717"/>
                    <a:pt x="161441" y="324345"/>
                    <a:pt x="148382" y="322735"/>
                  </a:cubicBezTo>
                  <a:cubicBezTo>
                    <a:pt x="145792" y="322735"/>
                    <a:pt x="143239" y="322078"/>
                    <a:pt x="140972" y="320811"/>
                  </a:cubicBezTo>
                  <a:cubicBezTo>
                    <a:pt x="135524" y="317306"/>
                    <a:pt x="131542" y="311934"/>
                    <a:pt x="129771" y="305695"/>
                  </a:cubicBezTo>
                  <a:cubicBezTo>
                    <a:pt x="127208" y="297056"/>
                    <a:pt x="130190" y="290617"/>
                    <a:pt x="136390" y="291274"/>
                  </a:cubicBezTo>
                  <a:cubicBezTo>
                    <a:pt x="137400" y="291379"/>
                    <a:pt x="138438" y="291503"/>
                    <a:pt x="139524" y="291646"/>
                  </a:cubicBezTo>
                  <a:cubicBezTo>
                    <a:pt x="150659" y="292989"/>
                    <a:pt x="164575" y="294694"/>
                    <a:pt x="180187" y="273424"/>
                  </a:cubicBezTo>
                  <a:cubicBezTo>
                    <a:pt x="186616" y="264709"/>
                    <a:pt x="187016" y="247469"/>
                    <a:pt x="181272" y="227409"/>
                  </a:cubicBezTo>
                  <a:cubicBezTo>
                    <a:pt x="175586" y="207092"/>
                    <a:pt x="164937" y="188500"/>
                    <a:pt x="150297" y="173307"/>
                  </a:cubicBezTo>
                  <a:cubicBezTo>
                    <a:pt x="146963" y="193357"/>
                    <a:pt x="139943" y="215436"/>
                    <a:pt x="127189" y="229524"/>
                  </a:cubicBezTo>
                  <a:cubicBezTo>
                    <a:pt x="120369" y="236744"/>
                    <a:pt x="112378" y="242773"/>
                    <a:pt x="103558" y="247335"/>
                  </a:cubicBezTo>
                  <a:cubicBezTo>
                    <a:pt x="104834" y="252317"/>
                    <a:pt x="106377" y="257222"/>
                    <a:pt x="108177" y="262042"/>
                  </a:cubicBezTo>
                  <a:cubicBezTo>
                    <a:pt x="113169" y="274148"/>
                    <a:pt x="107387" y="282949"/>
                    <a:pt x="97833" y="277434"/>
                  </a:cubicBezTo>
                  <a:cubicBezTo>
                    <a:pt x="93166" y="274453"/>
                    <a:pt x="89575" y="270062"/>
                    <a:pt x="87565" y="264909"/>
                  </a:cubicBezTo>
                  <a:cubicBezTo>
                    <a:pt x="86346" y="262013"/>
                    <a:pt x="85032" y="258213"/>
                    <a:pt x="83622" y="253670"/>
                  </a:cubicBezTo>
                  <a:cubicBezTo>
                    <a:pt x="69487" y="254822"/>
                    <a:pt x="55371" y="251288"/>
                    <a:pt x="43455" y="243611"/>
                  </a:cubicBezTo>
                  <a:cubicBezTo>
                    <a:pt x="25072" y="232857"/>
                    <a:pt x="11127" y="215903"/>
                    <a:pt x="4126" y="195786"/>
                  </a:cubicBezTo>
                  <a:cubicBezTo>
                    <a:pt x="-503" y="181784"/>
                    <a:pt x="-6685" y="143682"/>
                    <a:pt x="19709" y="122061"/>
                  </a:cubicBezTo>
                  <a:cubicBezTo>
                    <a:pt x="31682" y="112083"/>
                    <a:pt x="46617" y="106326"/>
                    <a:pt x="62191" y="105680"/>
                  </a:cubicBezTo>
                  <a:cubicBezTo>
                    <a:pt x="63343" y="91108"/>
                    <a:pt x="65477" y="76631"/>
                    <a:pt x="68573" y="62347"/>
                  </a:cubicBezTo>
                  <a:cubicBezTo>
                    <a:pt x="46665" y="49461"/>
                    <a:pt x="30844" y="38341"/>
                    <a:pt x="29406" y="37328"/>
                  </a:cubicBezTo>
                  <a:cubicBezTo>
                    <a:pt x="26024" y="34838"/>
                    <a:pt x="23291" y="31572"/>
                    <a:pt x="21433" y="27805"/>
                  </a:cubicBezTo>
                  <a:cubicBezTo>
                    <a:pt x="19576" y="24039"/>
                    <a:pt x="18642" y="19880"/>
                    <a:pt x="18728" y="15681"/>
                  </a:cubicBezTo>
                  <a:cubicBezTo>
                    <a:pt x="19490" y="8645"/>
                    <a:pt x="25405" y="6390"/>
                    <a:pt x="32216" y="11182"/>
                  </a:cubicBezTo>
                  <a:cubicBezTo>
                    <a:pt x="44198" y="19471"/>
                    <a:pt x="59514" y="29198"/>
                    <a:pt x="74526" y="37813"/>
                  </a:cubicBezTo>
                  <a:cubicBezTo>
                    <a:pt x="79698" y="18828"/>
                    <a:pt x="84574" y="5595"/>
                    <a:pt x="84994" y="4402"/>
                  </a:cubicBezTo>
                  <a:cubicBezTo>
                    <a:pt x="86746" y="-357"/>
                    <a:pt x="91461" y="-1245"/>
                    <a:pt x="96481" y="1679"/>
                  </a:cubicBezTo>
                  <a:cubicBezTo>
                    <a:pt x="104806" y="6488"/>
                    <a:pt x="110673" y="19405"/>
                    <a:pt x="107882" y="26845"/>
                  </a:cubicBezTo>
                  <a:cubicBezTo>
                    <a:pt x="107815" y="27084"/>
                    <a:pt x="104234" y="36821"/>
                    <a:pt x="100015" y="51477"/>
                  </a:cubicBezTo>
                  <a:cubicBezTo>
                    <a:pt x="118255" y="61241"/>
                    <a:pt x="137886" y="68147"/>
                    <a:pt x="158222" y="71954"/>
                  </a:cubicBezTo>
                  <a:cubicBezTo>
                    <a:pt x="165099" y="72852"/>
                    <a:pt x="171747" y="81304"/>
                    <a:pt x="173881" y="88998"/>
                  </a:cubicBezTo>
                  <a:cubicBezTo>
                    <a:pt x="176291" y="97598"/>
                    <a:pt x="173176" y="103882"/>
                    <a:pt x="166909" y="103066"/>
                  </a:cubicBezTo>
                  <a:cubicBezTo>
                    <a:pt x="144353" y="100044"/>
                    <a:pt x="117560" y="88699"/>
                    <a:pt x="93566" y="76250"/>
                  </a:cubicBezTo>
                  <a:cubicBezTo>
                    <a:pt x="91242" y="86472"/>
                    <a:pt x="89118" y="97533"/>
                    <a:pt x="87699" y="108637"/>
                  </a:cubicBezTo>
                  <a:cubicBezTo>
                    <a:pt x="102529" y="112760"/>
                    <a:pt x="116569" y="119348"/>
                    <a:pt x="129218" y="128128"/>
                  </a:cubicBezTo>
                  <a:cubicBezTo>
                    <a:pt x="129332" y="126630"/>
                    <a:pt x="129332" y="125792"/>
                    <a:pt x="129332" y="125710"/>
                  </a:cubicBezTo>
                  <a:cubicBezTo>
                    <a:pt x="129466" y="118195"/>
                    <a:pt x="134876" y="115205"/>
                    <a:pt x="141658" y="119213"/>
                  </a:cubicBezTo>
                  <a:cubicBezTo>
                    <a:pt x="145239" y="121505"/>
                    <a:pt x="148202" y="124640"/>
                    <a:pt x="150287" y="128342"/>
                  </a:cubicBezTo>
                  <a:cubicBezTo>
                    <a:pt x="152373" y="132045"/>
                    <a:pt x="153526" y="136202"/>
                    <a:pt x="153640" y="140452"/>
                  </a:cubicBezTo>
                  <a:cubicBezTo>
                    <a:pt x="153640" y="140914"/>
                    <a:pt x="153526" y="143229"/>
                    <a:pt x="153307" y="146906"/>
                  </a:cubicBezTo>
                  <a:cubicBezTo>
                    <a:pt x="153726" y="147303"/>
                    <a:pt x="154107" y="147641"/>
                    <a:pt x="154526" y="147994"/>
                  </a:cubicBezTo>
                  <a:cubicBezTo>
                    <a:pt x="178405" y="170127"/>
                    <a:pt x="195503" y="198596"/>
                    <a:pt x="203818" y="230076"/>
                  </a:cubicBezTo>
                  <a:close/>
                  <a:moveTo>
                    <a:pt x="44569" y="215703"/>
                  </a:moveTo>
                  <a:cubicBezTo>
                    <a:pt x="48989" y="218741"/>
                    <a:pt x="53990" y="220846"/>
                    <a:pt x="59248" y="221904"/>
                  </a:cubicBezTo>
                  <a:cubicBezTo>
                    <a:pt x="64515" y="222961"/>
                    <a:pt x="69935" y="222932"/>
                    <a:pt x="75192" y="221837"/>
                  </a:cubicBezTo>
                  <a:cubicBezTo>
                    <a:pt x="68792" y="194395"/>
                    <a:pt x="64486" y="166502"/>
                    <a:pt x="62295" y="138405"/>
                  </a:cubicBezTo>
                  <a:cubicBezTo>
                    <a:pt x="53523" y="140625"/>
                    <a:pt x="45370" y="144795"/>
                    <a:pt x="38435" y="150603"/>
                  </a:cubicBezTo>
                  <a:cubicBezTo>
                    <a:pt x="26062" y="160732"/>
                    <a:pt x="22786" y="176203"/>
                    <a:pt x="28406" y="193214"/>
                  </a:cubicBezTo>
                  <a:cubicBezTo>
                    <a:pt x="31187" y="202282"/>
                    <a:pt x="36864" y="210178"/>
                    <a:pt x="44569" y="215703"/>
                  </a:cubicBezTo>
                  <a:close/>
                  <a:moveTo>
                    <a:pt x="109216" y="203463"/>
                  </a:moveTo>
                  <a:cubicBezTo>
                    <a:pt x="117855" y="192262"/>
                    <a:pt x="123665" y="171516"/>
                    <a:pt x="126437" y="154307"/>
                  </a:cubicBezTo>
                  <a:cubicBezTo>
                    <a:pt x="114302" y="145836"/>
                    <a:pt x="100500" y="140078"/>
                    <a:pt x="85946" y="137425"/>
                  </a:cubicBezTo>
                  <a:cubicBezTo>
                    <a:pt x="87061" y="163647"/>
                    <a:pt x="90337" y="189728"/>
                    <a:pt x="95747" y="215417"/>
                  </a:cubicBezTo>
                  <a:cubicBezTo>
                    <a:pt x="100729" y="212026"/>
                    <a:pt x="105253" y="208007"/>
                    <a:pt x="109216" y="203463"/>
                  </a:cubicBezTo>
                  <a:close/>
                </a:path>
              </a:pathLst>
            </a:custGeom>
            <a:solidFill>
              <a:srgbClr val="F5EDFD"/>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E45E4F4-F576-F93B-C741-40BDF2B59663}"/>
                </a:ext>
              </a:extLst>
            </p:cNvPr>
            <p:cNvSpPr/>
            <p:nvPr/>
          </p:nvSpPr>
          <p:spPr>
            <a:xfrm>
              <a:off x="5928550" y="3190874"/>
              <a:ext cx="460819" cy="855830"/>
            </a:xfrm>
            <a:custGeom>
              <a:avLst/>
              <a:gdLst>
                <a:gd name="connsiteX0" fmla="*/ 460058 w 460819"/>
                <a:gd name="connsiteY0" fmla="*/ 269566 h 855830"/>
                <a:gd name="connsiteX1" fmla="*/ 459581 w 460819"/>
                <a:gd name="connsiteY1" fmla="*/ 266804 h 855830"/>
                <a:gd name="connsiteX2" fmla="*/ 458057 w 460819"/>
                <a:gd name="connsiteY2" fmla="*/ 260136 h 855830"/>
                <a:gd name="connsiteX3" fmla="*/ 457295 w 460819"/>
                <a:gd name="connsiteY3" fmla="*/ 257279 h 855830"/>
                <a:gd name="connsiteX4" fmla="*/ 454342 w 460819"/>
                <a:gd name="connsiteY4" fmla="*/ 249183 h 855830"/>
                <a:gd name="connsiteX5" fmla="*/ 453962 w 460819"/>
                <a:gd name="connsiteY5" fmla="*/ 248135 h 855830"/>
                <a:gd name="connsiteX6" fmla="*/ 453962 w 460819"/>
                <a:gd name="connsiteY6" fmla="*/ 247944 h 855830"/>
                <a:gd name="connsiteX7" fmla="*/ 449580 w 460819"/>
                <a:gd name="connsiteY7" fmla="*/ 239562 h 855830"/>
                <a:gd name="connsiteX8" fmla="*/ 448342 w 460819"/>
                <a:gd name="connsiteY8" fmla="*/ 237467 h 855830"/>
                <a:gd name="connsiteX9" fmla="*/ 443579 w 460819"/>
                <a:gd name="connsiteY9" fmla="*/ 230228 h 855830"/>
                <a:gd name="connsiteX10" fmla="*/ 442913 w 460819"/>
                <a:gd name="connsiteY10" fmla="*/ 229275 h 855830"/>
                <a:gd name="connsiteX11" fmla="*/ 438150 w 460819"/>
                <a:gd name="connsiteY11" fmla="*/ 223275 h 855830"/>
                <a:gd name="connsiteX12" fmla="*/ 436817 w 460819"/>
                <a:gd name="connsiteY12" fmla="*/ 221846 h 855830"/>
                <a:gd name="connsiteX13" fmla="*/ 435674 w 460819"/>
                <a:gd name="connsiteY13" fmla="*/ 220608 h 855830"/>
                <a:gd name="connsiteX14" fmla="*/ 429006 w 460819"/>
                <a:gd name="connsiteY14" fmla="*/ 214416 h 855830"/>
                <a:gd name="connsiteX15" fmla="*/ 427958 w 460819"/>
                <a:gd name="connsiteY15" fmla="*/ 213654 h 855830"/>
                <a:gd name="connsiteX16" fmla="*/ 420434 w 460819"/>
                <a:gd name="connsiteY16" fmla="*/ 208416 h 855830"/>
                <a:gd name="connsiteX17" fmla="*/ 69056 w 460819"/>
                <a:gd name="connsiteY17" fmla="*/ 5533 h 855830"/>
                <a:gd name="connsiteX18" fmla="*/ 40291 w 460819"/>
                <a:gd name="connsiteY18" fmla="*/ 2676 h 855830"/>
                <a:gd name="connsiteX19" fmla="*/ 0 w 460819"/>
                <a:gd name="connsiteY19" fmla="*/ 26107 h 855830"/>
                <a:gd name="connsiteX20" fmla="*/ 28766 w 460819"/>
                <a:gd name="connsiteY20" fmla="*/ 28965 h 855830"/>
                <a:gd name="connsiteX21" fmla="*/ 380143 w 460819"/>
                <a:gd name="connsiteY21" fmla="*/ 231847 h 855830"/>
                <a:gd name="connsiteX22" fmla="*/ 387667 w 460819"/>
                <a:gd name="connsiteY22" fmla="*/ 237086 h 855830"/>
                <a:gd name="connsiteX23" fmla="*/ 388620 w 460819"/>
                <a:gd name="connsiteY23" fmla="*/ 237848 h 855830"/>
                <a:gd name="connsiteX24" fmla="*/ 395288 w 460819"/>
                <a:gd name="connsiteY24" fmla="*/ 244039 h 855830"/>
                <a:gd name="connsiteX25" fmla="*/ 396430 w 460819"/>
                <a:gd name="connsiteY25" fmla="*/ 245277 h 855830"/>
                <a:gd name="connsiteX26" fmla="*/ 402622 w 460819"/>
                <a:gd name="connsiteY26" fmla="*/ 252707 h 855830"/>
                <a:gd name="connsiteX27" fmla="*/ 403288 w 460819"/>
                <a:gd name="connsiteY27" fmla="*/ 253659 h 855830"/>
                <a:gd name="connsiteX28" fmla="*/ 408051 w 460819"/>
                <a:gd name="connsiteY28" fmla="*/ 260994 h 855830"/>
                <a:gd name="connsiteX29" fmla="*/ 409289 w 460819"/>
                <a:gd name="connsiteY29" fmla="*/ 263089 h 855830"/>
                <a:gd name="connsiteX30" fmla="*/ 413671 w 460819"/>
                <a:gd name="connsiteY30" fmla="*/ 271662 h 855830"/>
                <a:gd name="connsiteX31" fmla="*/ 414052 w 460819"/>
                <a:gd name="connsiteY31" fmla="*/ 272614 h 855830"/>
                <a:gd name="connsiteX32" fmla="*/ 417005 w 460819"/>
                <a:gd name="connsiteY32" fmla="*/ 280710 h 855830"/>
                <a:gd name="connsiteX33" fmla="*/ 417767 w 460819"/>
                <a:gd name="connsiteY33" fmla="*/ 283473 h 855830"/>
                <a:gd name="connsiteX34" fmla="*/ 419291 w 460819"/>
                <a:gd name="connsiteY34" fmla="*/ 290140 h 855830"/>
                <a:gd name="connsiteX35" fmla="*/ 419767 w 460819"/>
                <a:gd name="connsiteY35" fmla="*/ 292902 h 855830"/>
                <a:gd name="connsiteX36" fmla="*/ 420529 w 460819"/>
                <a:gd name="connsiteY36" fmla="*/ 301856 h 855830"/>
                <a:gd name="connsiteX37" fmla="*/ 419005 w 460819"/>
                <a:gd name="connsiteY37" fmla="*/ 829828 h 855830"/>
                <a:gd name="connsiteX38" fmla="*/ 407194 w 460819"/>
                <a:gd name="connsiteY38" fmla="*/ 855831 h 855830"/>
                <a:gd name="connsiteX39" fmla="*/ 447484 w 460819"/>
                <a:gd name="connsiteY39" fmla="*/ 832399 h 855830"/>
                <a:gd name="connsiteX40" fmla="*/ 459296 w 460819"/>
                <a:gd name="connsiteY40" fmla="*/ 806396 h 855830"/>
                <a:gd name="connsiteX41" fmla="*/ 460820 w 460819"/>
                <a:gd name="connsiteY41" fmla="*/ 278424 h 855830"/>
                <a:gd name="connsiteX42" fmla="*/ 460058 w 460819"/>
                <a:gd name="connsiteY42" fmla="*/ 269471 h 855830"/>
                <a:gd name="connsiteX43" fmla="*/ 460058 w 460819"/>
                <a:gd name="connsiteY43" fmla="*/ 269566 h 85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9" h="855830">
                  <a:moveTo>
                    <a:pt x="460058" y="269566"/>
                  </a:moveTo>
                  <a:cubicBezTo>
                    <a:pt x="459962" y="268614"/>
                    <a:pt x="459772" y="267756"/>
                    <a:pt x="459581" y="266804"/>
                  </a:cubicBezTo>
                  <a:cubicBezTo>
                    <a:pt x="459200" y="264613"/>
                    <a:pt x="458629" y="262422"/>
                    <a:pt x="458057" y="260136"/>
                  </a:cubicBezTo>
                  <a:cubicBezTo>
                    <a:pt x="457771" y="259184"/>
                    <a:pt x="457581" y="258231"/>
                    <a:pt x="457295" y="257279"/>
                  </a:cubicBezTo>
                  <a:cubicBezTo>
                    <a:pt x="456438" y="254517"/>
                    <a:pt x="455486" y="251850"/>
                    <a:pt x="454342" y="249183"/>
                  </a:cubicBezTo>
                  <a:cubicBezTo>
                    <a:pt x="454247" y="248897"/>
                    <a:pt x="454057" y="248516"/>
                    <a:pt x="453962" y="248135"/>
                  </a:cubicBezTo>
                  <a:lnTo>
                    <a:pt x="453962" y="247944"/>
                  </a:lnTo>
                  <a:cubicBezTo>
                    <a:pt x="452628" y="245087"/>
                    <a:pt x="451199" y="242325"/>
                    <a:pt x="449580" y="239562"/>
                  </a:cubicBezTo>
                  <a:cubicBezTo>
                    <a:pt x="449199" y="238800"/>
                    <a:pt x="448723" y="238134"/>
                    <a:pt x="448342" y="237467"/>
                  </a:cubicBezTo>
                  <a:cubicBezTo>
                    <a:pt x="446818" y="234990"/>
                    <a:pt x="445294" y="232514"/>
                    <a:pt x="443579" y="230228"/>
                  </a:cubicBezTo>
                  <a:cubicBezTo>
                    <a:pt x="443389" y="229942"/>
                    <a:pt x="443198" y="229561"/>
                    <a:pt x="442913" y="229275"/>
                  </a:cubicBezTo>
                  <a:cubicBezTo>
                    <a:pt x="441388" y="227180"/>
                    <a:pt x="439769" y="225180"/>
                    <a:pt x="438150" y="223275"/>
                  </a:cubicBezTo>
                  <a:cubicBezTo>
                    <a:pt x="437674" y="222798"/>
                    <a:pt x="437198" y="222322"/>
                    <a:pt x="436817" y="221846"/>
                  </a:cubicBezTo>
                  <a:cubicBezTo>
                    <a:pt x="436436" y="221465"/>
                    <a:pt x="436055" y="220989"/>
                    <a:pt x="435674" y="220608"/>
                  </a:cubicBezTo>
                  <a:cubicBezTo>
                    <a:pt x="433578" y="218417"/>
                    <a:pt x="431292" y="216321"/>
                    <a:pt x="429006" y="214416"/>
                  </a:cubicBezTo>
                  <a:cubicBezTo>
                    <a:pt x="428625" y="214131"/>
                    <a:pt x="428339" y="213940"/>
                    <a:pt x="427958" y="213654"/>
                  </a:cubicBezTo>
                  <a:cubicBezTo>
                    <a:pt x="425482" y="211749"/>
                    <a:pt x="423005" y="209940"/>
                    <a:pt x="420434" y="208416"/>
                  </a:cubicBezTo>
                  <a:lnTo>
                    <a:pt x="69056" y="5533"/>
                  </a:lnTo>
                  <a:cubicBezTo>
                    <a:pt x="57817" y="-944"/>
                    <a:pt x="47625" y="-1515"/>
                    <a:pt x="40291" y="2676"/>
                  </a:cubicBezTo>
                  <a:lnTo>
                    <a:pt x="0" y="26107"/>
                  </a:lnTo>
                  <a:cubicBezTo>
                    <a:pt x="7334" y="21821"/>
                    <a:pt x="17526" y="22392"/>
                    <a:pt x="28766" y="28965"/>
                  </a:cubicBezTo>
                  <a:lnTo>
                    <a:pt x="380143" y="231847"/>
                  </a:lnTo>
                  <a:cubicBezTo>
                    <a:pt x="382715" y="233371"/>
                    <a:pt x="385191" y="235086"/>
                    <a:pt x="387667" y="237086"/>
                  </a:cubicBezTo>
                  <a:cubicBezTo>
                    <a:pt x="387953" y="237372"/>
                    <a:pt x="388334" y="237562"/>
                    <a:pt x="388620" y="237848"/>
                  </a:cubicBezTo>
                  <a:cubicBezTo>
                    <a:pt x="390906" y="239753"/>
                    <a:pt x="393097" y="241848"/>
                    <a:pt x="395288" y="244039"/>
                  </a:cubicBezTo>
                  <a:cubicBezTo>
                    <a:pt x="395669" y="244420"/>
                    <a:pt x="396050" y="244896"/>
                    <a:pt x="396430" y="245277"/>
                  </a:cubicBezTo>
                  <a:cubicBezTo>
                    <a:pt x="398621" y="247659"/>
                    <a:pt x="400717" y="250135"/>
                    <a:pt x="402622" y="252707"/>
                  </a:cubicBezTo>
                  <a:cubicBezTo>
                    <a:pt x="402812" y="252993"/>
                    <a:pt x="403003" y="253278"/>
                    <a:pt x="403288" y="253659"/>
                  </a:cubicBezTo>
                  <a:cubicBezTo>
                    <a:pt x="405003" y="256041"/>
                    <a:pt x="406527" y="258422"/>
                    <a:pt x="408051" y="260994"/>
                  </a:cubicBezTo>
                  <a:cubicBezTo>
                    <a:pt x="408432" y="261660"/>
                    <a:pt x="408908" y="262422"/>
                    <a:pt x="409289" y="263089"/>
                  </a:cubicBezTo>
                  <a:cubicBezTo>
                    <a:pt x="410909" y="265947"/>
                    <a:pt x="412337" y="268804"/>
                    <a:pt x="413671" y="271662"/>
                  </a:cubicBezTo>
                  <a:cubicBezTo>
                    <a:pt x="413766" y="271947"/>
                    <a:pt x="413957" y="272328"/>
                    <a:pt x="414052" y="272614"/>
                  </a:cubicBezTo>
                  <a:cubicBezTo>
                    <a:pt x="415195" y="275281"/>
                    <a:pt x="416147" y="278043"/>
                    <a:pt x="417005" y="280710"/>
                  </a:cubicBezTo>
                  <a:cubicBezTo>
                    <a:pt x="417290" y="281663"/>
                    <a:pt x="417576" y="282615"/>
                    <a:pt x="417767" y="283473"/>
                  </a:cubicBezTo>
                  <a:cubicBezTo>
                    <a:pt x="418433" y="285663"/>
                    <a:pt x="418909" y="287949"/>
                    <a:pt x="419291" y="290140"/>
                  </a:cubicBezTo>
                  <a:cubicBezTo>
                    <a:pt x="419481" y="291093"/>
                    <a:pt x="419671" y="291950"/>
                    <a:pt x="419767" y="292902"/>
                  </a:cubicBezTo>
                  <a:cubicBezTo>
                    <a:pt x="420243" y="295950"/>
                    <a:pt x="420529" y="298903"/>
                    <a:pt x="420529" y="301856"/>
                  </a:cubicBezTo>
                  <a:lnTo>
                    <a:pt x="419005" y="829828"/>
                  </a:lnTo>
                  <a:cubicBezTo>
                    <a:pt x="419005" y="842591"/>
                    <a:pt x="414433" y="851640"/>
                    <a:pt x="407194" y="855831"/>
                  </a:cubicBezTo>
                  <a:lnTo>
                    <a:pt x="447484" y="832399"/>
                  </a:lnTo>
                  <a:cubicBezTo>
                    <a:pt x="454724" y="828208"/>
                    <a:pt x="459296" y="819160"/>
                    <a:pt x="459296" y="806396"/>
                  </a:cubicBezTo>
                  <a:lnTo>
                    <a:pt x="460820" y="278424"/>
                  </a:lnTo>
                  <a:cubicBezTo>
                    <a:pt x="460820" y="275472"/>
                    <a:pt x="460534" y="272519"/>
                    <a:pt x="460058" y="269471"/>
                  </a:cubicBezTo>
                  <a:lnTo>
                    <a:pt x="460058" y="269566"/>
                  </a:lnTo>
                  <a:close/>
                </a:path>
              </a:pathLst>
            </a:custGeom>
            <a:gradFill>
              <a:gsLst>
                <a:gs pos="0">
                  <a:srgbClr val="E6D1F2"/>
                </a:gs>
                <a:gs pos="65000">
                  <a:srgbClr val="A864CD"/>
                </a:gs>
                <a:gs pos="100000">
                  <a:srgbClr val="862EB5"/>
                </a:gs>
              </a:gsLst>
              <a:lin ang="503995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9E1E4AF-DE1C-1ED9-61F8-812221957866}"/>
                </a:ext>
              </a:extLst>
            </p:cNvPr>
            <p:cNvSpPr/>
            <p:nvPr/>
          </p:nvSpPr>
          <p:spPr>
            <a:xfrm>
              <a:off x="5162549" y="2796928"/>
              <a:ext cx="283846" cy="365056"/>
            </a:xfrm>
            <a:custGeom>
              <a:avLst/>
              <a:gdLst>
                <a:gd name="connsiteX0" fmla="*/ 142304 w 283846"/>
                <a:gd name="connsiteY0" fmla="*/ 19451 h 365056"/>
                <a:gd name="connsiteX1" fmla="*/ 1 w 283846"/>
                <a:gd name="connsiteY1" fmla="*/ 100604 h 365056"/>
                <a:gd name="connsiteX2" fmla="*/ 141447 w 283846"/>
                <a:gd name="connsiteY2" fmla="*/ 345587 h 365056"/>
                <a:gd name="connsiteX3" fmla="*/ 283846 w 283846"/>
                <a:gd name="connsiteY3" fmla="*/ 264529 h 365056"/>
                <a:gd name="connsiteX4" fmla="*/ 142400 w 283846"/>
                <a:gd name="connsiteY4" fmla="*/ 19451 h 365056"/>
                <a:gd name="connsiteX5" fmla="*/ 142304 w 283846"/>
                <a:gd name="connsiteY5" fmla="*/ 19451 h 36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6" h="365056">
                  <a:moveTo>
                    <a:pt x="142304" y="19451"/>
                  </a:moveTo>
                  <a:cubicBezTo>
                    <a:pt x="64009" y="-25793"/>
                    <a:pt x="191" y="10592"/>
                    <a:pt x="1" y="100604"/>
                  </a:cubicBezTo>
                  <a:cubicBezTo>
                    <a:pt x="-285" y="190615"/>
                    <a:pt x="63056" y="300343"/>
                    <a:pt x="141447" y="345587"/>
                  </a:cubicBezTo>
                  <a:cubicBezTo>
                    <a:pt x="219838" y="390830"/>
                    <a:pt x="283560" y="354540"/>
                    <a:pt x="283846" y="264529"/>
                  </a:cubicBezTo>
                  <a:cubicBezTo>
                    <a:pt x="284132" y="174422"/>
                    <a:pt x="220790" y="64694"/>
                    <a:pt x="142400" y="19451"/>
                  </a:cubicBezTo>
                  <a:lnTo>
                    <a:pt x="142304" y="19451"/>
                  </a:lnTo>
                  <a:close/>
                </a:path>
              </a:pathLst>
            </a:custGeom>
            <a:gradFill>
              <a:gsLst>
                <a:gs pos="0">
                  <a:srgbClr val="77D672"/>
                </a:gs>
                <a:gs pos="80000">
                  <a:srgbClr val="56A84F"/>
                </a:gs>
                <a:gs pos="100000">
                  <a:srgbClr val="56A84F"/>
                </a:gs>
              </a:gsLst>
              <a:lin ang="4354414"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7567CC3D-7FF0-D44D-3201-64CBDDA3AEA0}"/>
                </a:ext>
              </a:extLst>
            </p:cNvPr>
            <p:cNvSpPr/>
            <p:nvPr/>
          </p:nvSpPr>
          <p:spPr>
            <a:xfrm>
              <a:off x="5203889" y="2781300"/>
              <a:ext cx="269462" cy="370930"/>
            </a:xfrm>
            <a:custGeom>
              <a:avLst/>
              <a:gdLst>
                <a:gd name="connsiteX0" fmla="*/ 268605 w 269462"/>
                <a:gd name="connsiteY0" fmla="*/ 249010 h 370930"/>
                <a:gd name="connsiteX1" fmla="*/ 268129 w 269462"/>
                <a:gd name="connsiteY1" fmla="*/ 244343 h 370930"/>
                <a:gd name="connsiteX2" fmla="*/ 266700 w 269462"/>
                <a:gd name="connsiteY2" fmla="*/ 232818 h 370930"/>
                <a:gd name="connsiteX3" fmla="*/ 265938 w 269462"/>
                <a:gd name="connsiteY3" fmla="*/ 227960 h 370930"/>
                <a:gd name="connsiteX4" fmla="*/ 263176 w 269462"/>
                <a:gd name="connsiteY4" fmla="*/ 213768 h 370930"/>
                <a:gd name="connsiteX5" fmla="*/ 262795 w 269462"/>
                <a:gd name="connsiteY5" fmla="*/ 212053 h 370930"/>
                <a:gd name="connsiteX6" fmla="*/ 258509 w 269462"/>
                <a:gd name="connsiteY6" fmla="*/ 196051 h 370930"/>
                <a:gd name="connsiteX7" fmla="*/ 257080 w 269462"/>
                <a:gd name="connsiteY7" fmla="*/ 191479 h 370930"/>
                <a:gd name="connsiteX8" fmla="*/ 253175 w 269462"/>
                <a:gd name="connsiteY8" fmla="*/ 179763 h 370930"/>
                <a:gd name="connsiteX9" fmla="*/ 251365 w 269462"/>
                <a:gd name="connsiteY9" fmla="*/ 174715 h 370930"/>
                <a:gd name="connsiteX10" fmla="*/ 246126 w 269462"/>
                <a:gd name="connsiteY10" fmla="*/ 161666 h 370930"/>
                <a:gd name="connsiteX11" fmla="*/ 244983 w 269462"/>
                <a:gd name="connsiteY11" fmla="*/ 158808 h 370930"/>
                <a:gd name="connsiteX12" fmla="*/ 244697 w 269462"/>
                <a:gd name="connsiteY12" fmla="*/ 158046 h 370930"/>
                <a:gd name="connsiteX13" fmla="*/ 243554 w 269462"/>
                <a:gd name="connsiteY13" fmla="*/ 155665 h 370930"/>
                <a:gd name="connsiteX14" fmla="*/ 234791 w 269462"/>
                <a:gd name="connsiteY14" fmla="*/ 137663 h 370930"/>
                <a:gd name="connsiteX15" fmla="*/ 231458 w 269462"/>
                <a:gd name="connsiteY15" fmla="*/ 131472 h 370930"/>
                <a:gd name="connsiteX16" fmla="*/ 222504 w 269462"/>
                <a:gd name="connsiteY16" fmla="*/ 116232 h 370930"/>
                <a:gd name="connsiteX17" fmla="*/ 219361 w 269462"/>
                <a:gd name="connsiteY17" fmla="*/ 111088 h 370930"/>
                <a:gd name="connsiteX18" fmla="*/ 206312 w 269462"/>
                <a:gd name="connsiteY18" fmla="*/ 92133 h 370930"/>
                <a:gd name="connsiteX19" fmla="*/ 203740 w 269462"/>
                <a:gd name="connsiteY19" fmla="*/ 88800 h 370930"/>
                <a:gd name="connsiteX20" fmla="*/ 191929 w 269462"/>
                <a:gd name="connsiteY20" fmla="*/ 74131 h 370930"/>
                <a:gd name="connsiteX21" fmla="*/ 189833 w 269462"/>
                <a:gd name="connsiteY21" fmla="*/ 71559 h 370930"/>
                <a:gd name="connsiteX22" fmla="*/ 186880 w 269462"/>
                <a:gd name="connsiteY22" fmla="*/ 68416 h 370930"/>
                <a:gd name="connsiteX23" fmla="*/ 178689 w 269462"/>
                <a:gd name="connsiteY23" fmla="*/ 59748 h 370930"/>
                <a:gd name="connsiteX24" fmla="*/ 172974 w 269462"/>
                <a:gd name="connsiteY24" fmla="*/ 54033 h 370930"/>
                <a:gd name="connsiteX25" fmla="*/ 164116 w 269462"/>
                <a:gd name="connsiteY25" fmla="*/ 45937 h 370930"/>
                <a:gd name="connsiteX26" fmla="*/ 158401 w 269462"/>
                <a:gd name="connsiteY26" fmla="*/ 40984 h 370930"/>
                <a:gd name="connsiteX27" fmla="*/ 148304 w 269462"/>
                <a:gd name="connsiteY27" fmla="*/ 33174 h 370930"/>
                <a:gd name="connsiteX28" fmla="*/ 143351 w 269462"/>
                <a:gd name="connsiteY28" fmla="*/ 29459 h 370930"/>
                <a:gd name="connsiteX29" fmla="*/ 127826 w 269462"/>
                <a:gd name="connsiteY29" fmla="*/ 19458 h 370930"/>
                <a:gd name="connsiteX30" fmla="*/ 26860 w 269462"/>
                <a:gd name="connsiteY30" fmla="*/ 9552 h 370930"/>
                <a:gd name="connsiteX31" fmla="*/ 0 w 269462"/>
                <a:gd name="connsiteY31" fmla="*/ 25173 h 370930"/>
                <a:gd name="connsiteX32" fmla="*/ 100965 w 269462"/>
                <a:gd name="connsiteY32" fmla="*/ 35079 h 370930"/>
                <a:gd name="connsiteX33" fmla="*/ 116491 w 269462"/>
                <a:gd name="connsiteY33" fmla="*/ 45080 h 370930"/>
                <a:gd name="connsiteX34" fmla="*/ 121444 w 269462"/>
                <a:gd name="connsiteY34" fmla="*/ 48795 h 370930"/>
                <a:gd name="connsiteX35" fmla="*/ 131540 w 269462"/>
                <a:gd name="connsiteY35" fmla="*/ 56605 h 370930"/>
                <a:gd name="connsiteX36" fmla="*/ 137160 w 269462"/>
                <a:gd name="connsiteY36" fmla="*/ 61558 h 370930"/>
                <a:gd name="connsiteX37" fmla="*/ 146018 w 269462"/>
                <a:gd name="connsiteY37" fmla="*/ 69654 h 370930"/>
                <a:gd name="connsiteX38" fmla="*/ 151733 w 269462"/>
                <a:gd name="connsiteY38" fmla="*/ 75369 h 370930"/>
                <a:gd name="connsiteX39" fmla="*/ 159925 w 269462"/>
                <a:gd name="connsiteY39" fmla="*/ 84132 h 370930"/>
                <a:gd name="connsiteX40" fmla="*/ 164973 w 269462"/>
                <a:gd name="connsiteY40" fmla="*/ 89847 h 370930"/>
                <a:gd name="connsiteX41" fmla="*/ 176879 w 269462"/>
                <a:gd name="connsiteY41" fmla="*/ 104516 h 370930"/>
                <a:gd name="connsiteX42" fmla="*/ 179451 w 269462"/>
                <a:gd name="connsiteY42" fmla="*/ 107754 h 370930"/>
                <a:gd name="connsiteX43" fmla="*/ 192500 w 269462"/>
                <a:gd name="connsiteY43" fmla="*/ 126709 h 370930"/>
                <a:gd name="connsiteX44" fmla="*/ 195644 w 269462"/>
                <a:gd name="connsiteY44" fmla="*/ 131853 h 370930"/>
                <a:gd name="connsiteX45" fmla="*/ 204502 w 269462"/>
                <a:gd name="connsiteY45" fmla="*/ 147093 h 370930"/>
                <a:gd name="connsiteX46" fmla="*/ 207836 w 269462"/>
                <a:gd name="connsiteY46" fmla="*/ 153284 h 370930"/>
                <a:gd name="connsiteX47" fmla="*/ 216599 w 269462"/>
                <a:gd name="connsiteY47" fmla="*/ 171191 h 370930"/>
                <a:gd name="connsiteX48" fmla="*/ 218123 w 269462"/>
                <a:gd name="connsiteY48" fmla="*/ 174334 h 370930"/>
                <a:gd name="connsiteX49" fmla="*/ 219266 w 269462"/>
                <a:gd name="connsiteY49" fmla="*/ 177096 h 370930"/>
                <a:gd name="connsiteX50" fmla="*/ 224600 w 269462"/>
                <a:gd name="connsiteY50" fmla="*/ 190241 h 370930"/>
                <a:gd name="connsiteX51" fmla="*/ 226409 w 269462"/>
                <a:gd name="connsiteY51" fmla="*/ 195194 h 370930"/>
                <a:gd name="connsiteX52" fmla="*/ 230410 w 269462"/>
                <a:gd name="connsiteY52" fmla="*/ 207005 h 370930"/>
                <a:gd name="connsiteX53" fmla="*/ 231839 w 269462"/>
                <a:gd name="connsiteY53" fmla="*/ 211577 h 370930"/>
                <a:gd name="connsiteX54" fmla="*/ 236125 w 269462"/>
                <a:gd name="connsiteY54" fmla="*/ 227579 h 370930"/>
                <a:gd name="connsiteX55" fmla="*/ 236506 w 269462"/>
                <a:gd name="connsiteY55" fmla="*/ 229293 h 370930"/>
                <a:gd name="connsiteX56" fmla="*/ 239268 w 269462"/>
                <a:gd name="connsiteY56" fmla="*/ 243486 h 370930"/>
                <a:gd name="connsiteX57" fmla="*/ 240030 w 269462"/>
                <a:gd name="connsiteY57" fmla="*/ 248343 h 370930"/>
                <a:gd name="connsiteX58" fmla="*/ 241459 w 269462"/>
                <a:gd name="connsiteY58" fmla="*/ 259869 h 370930"/>
                <a:gd name="connsiteX59" fmla="*/ 241935 w 269462"/>
                <a:gd name="connsiteY59" fmla="*/ 264536 h 370930"/>
                <a:gd name="connsiteX60" fmla="*/ 242602 w 269462"/>
                <a:gd name="connsiteY60" fmla="*/ 279966 h 370930"/>
                <a:gd name="connsiteX61" fmla="*/ 225457 w 269462"/>
                <a:gd name="connsiteY61" fmla="*/ 347403 h 370930"/>
                <a:gd name="connsiteX62" fmla="*/ 201168 w 269462"/>
                <a:gd name="connsiteY62" fmla="*/ 370930 h 370930"/>
                <a:gd name="connsiteX63" fmla="*/ 228029 w 269462"/>
                <a:gd name="connsiteY63" fmla="*/ 355309 h 370930"/>
                <a:gd name="connsiteX64" fmla="*/ 269462 w 269462"/>
                <a:gd name="connsiteY64" fmla="*/ 264345 h 370930"/>
                <a:gd name="connsiteX65" fmla="*/ 268891 w 269462"/>
                <a:gd name="connsiteY65" fmla="*/ 248915 h 370930"/>
                <a:gd name="connsiteX66" fmla="*/ 268605 w 269462"/>
                <a:gd name="connsiteY66" fmla="*/ 249010 h 37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9462" h="370930">
                  <a:moveTo>
                    <a:pt x="268605" y="249010"/>
                  </a:moveTo>
                  <a:cubicBezTo>
                    <a:pt x="268510" y="247486"/>
                    <a:pt x="268319" y="245867"/>
                    <a:pt x="268129" y="244343"/>
                  </a:cubicBezTo>
                  <a:cubicBezTo>
                    <a:pt x="267748" y="240533"/>
                    <a:pt x="267272" y="236723"/>
                    <a:pt x="266700" y="232818"/>
                  </a:cubicBezTo>
                  <a:cubicBezTo>
                    <a:pt x="266510" y="231198"/>
                    <a:pt x="266224" y="229579"/>
                    <a:pt x="265938" y="227960"/>
                  </a:cubicBezTo>
                  <a:cubicBezTo>
                    <a:pt x="265176" y="223293"/>
                    <a:pt x="264224" y="218530"/>
                    <a:pt x="263176" y="213768"/>
                  </a:cubicBezTo>
                  <a:cubicBezTo>
                    <a:pt x="263081" y="213196"/>
                    <a:pt x="262985" y="212625"/>
                    <a:pt x="262795" y="212053"/>
                  </a:cubicBezTo>
                  <a:cubicBezTo>
                    <a:pt x="261556" y="206719"/>
                    <a:pt x="260128" y="201385"/>
                    <a:pt x="258509" y="196051"/>
                  </a:cubicBezTo>
                  <a:cubicBezTo>
                    <a:pt x="258032" y="194527"/>
                    <a:pt x="257556" y="193003"/>
                    <a:pt x="257080" y="191479"/>
                  </a:cubicBezTo>
                  <a:cubicBezTo>
                    <a:pt x="255842" y="187574"/>
                    <a:pt x="254508" y="183669"/>
                    <a:pt x="253175" y="179763"/>
                  </a:cubicBezTo>
                  <a:cubicBezTo>
                    <a:pt x="252603" y="178049"/>
                    <a:pt x="251936" y="176430"/>
                    <a:pt x="251365" y="174715"/>
                  </a:cubicBezTo>
                  <a:cubicBezTo>
                    <a:pt x="249746" y="170334"/>
                    <a:pt x="247936" y="165952"/>
                    <a:pt x="246126" y="161666"/>
                  </a:cubicBezTo>
                  <a:cubicBezTo>
                    <a:pt x="245745" y="160713"/>
                    <a:pt x="245364" y="159761"/>
                    <a:pt x="244983" y="158808"/>
                  </a:cubicBezTo>
                  <a:cubicBezTo>
                    <a:pt x="244888" y="158523"/>
                    <a:pt x="244793" y="158332"/>
                    <a:pt x="244697" y="158046"/>
                  </a:cubicBezTo>
                  <a:cubicBezTo>
                    <a:pt x="244316" y="157284"/>
                    <a:pt x="243935" y="156427"/>
                    <a:pt x="243554" y="155665"/>
                  </a:cubicBezTo>
                  <a:cubicBezTo>
                    <a:pt x="240792" y="149569"/>
                    <a:pt x="237839" y="143568"/>
                    <a:pt x="234791" y="137663"/>
                  </a:cubicBezTo>
                  <a:cubicBezTo>
                    <a:pt x="233744" y="135567"/>
                    <a:pt x="232601" y="133567"/>
                    <a:pt x="231458" y="131472"/>
                  </a:cubicBezTo>
                  <a:cubicBezTo>
                    <a:pt x="228600" y="126328"/>
                    <a:pt x="225647" y="121185"/>
                    <a:pt x="222504" y="116232"/>
                  </a:cubicBezTo>
                  <a:cubicBezTo>
                    <a:pt x="221456" y="114517"/>
                    <a:pt x="220409" y="112803"/>
                    <a:pt x="219361" y="111088"/>
                  </a:cubicBezTo>
                  <a:cubicBezTo>
                    <a:pt x="215170" y="104611"/>
                    <a:pt x="210884" y="98325"/>
                    <a:pt x="206312" y="92133"/>
                  </a:cubicBezTo>
                  <a:cubicBezTo>
                    <a:pt x="205454" y="90990"/>
                    <a:pt x="204597" y="89943"/>
                    <a:pt x="203740" y="88800"/>
                  </a:cubicBezTo>
                  <a:cubicBezTo>
                    <a:pt x="199930" y="83751"/>
                    <a:pt x="195929" y="78894"/>
                    <a:pt x="191929" y="74131"/>
                  </a:cubicBezTo>
                  <a:cubicBezTo>
                    <a:pt x="191262" y="73274"/>
                    <a:pt x="190595" y="72417"/>
                    <a:pt x="189833" y="71559"/>
                  </a:cubicBezTo>
                  <a:cubicBezTo>
                    <a:pt x="188881" y="70416"/>
                    <a:pt x="187833" y="69464"/>
                    <a:pt x="186880" y="68416"/>
                  </a:cubicBezTo>
                  <a:cubicBezTo>
                    <a:pt x="184214" y="65463"/>
                    <a:pt x="181451" y="62511"/>
                    <a:pt x="178689" y="59748"/>
                  </a:cubicBezTo>
                  <a:cubicBezTo>
                    <a:pt x="176784" y="57843"/>
                    <a:pt x="174879" y="55938"/>
                    <a:pt x="172974" y="54033"/>
                  </a:cubicBezTo>
                  <a:cubicBezTo>
                    <a:pt x="170117" y="51271"/>
                    <a:pt x="167164" y="48604"/>
                    <a:pt x="164116" y="45937"/>
                  </a:cubicBezTo>
                  <a:cubicBezTo>
                    <a:pt x="162211" y="44318"/>
                    <a:pt x="160401" y="42603"/>
                    <a:pt x="158401" y="40984"/>
                  </a:cubicBezTo>
                  <a:cubicBezTo>
                    <a:pt x="155067" y="38222"/>
                    <a:pt x="151733" y="35650"/>
                    <a:pt x="148304" y="33174"/>
                  </a:cubicBezTo>
                  <a:cubicBezTo>
                    <a:pt x="146590" y="31935"/>
                    <a:pt x="144971" y="30602"/>
                    <a:pt x="143351" y="29459"/>
                  </a:cubicBezTo>
                  <a:cubicBezTo>
                    <a:pt x="138208" y="25839"/>
                    <a:pt x="133064" y="22506"/>
                    <a:pt x="127826" y="19458"/>
                  </a:cubicBezTo>
                  <a:cubicBezTo>
                    <a:pt x="88392" y="-3307"/>
                    <a:pt x="52673" y="-5403"/>
                    <a:pt x="26860" y="9552"/>
                  </a:cubicBezTo>
                  <a:lnTo>
                    <a:pt x="0" y="25173"/>
                  </a:lnTo>
                  <a:cubicBezTo>
                    <a:pt x="25813" y="10218"/>
                    <a:pt x="61531" y="12314"/>
                    <a:pt x="100965" y="35079"/>
                  </a:cubicBezTo>
                  <a:cubicBezTo>
                    <a:pt x="106204" y="38127"/>
                    <a:pt x="111443" y="41460"/>
                    <a:pt x="116491" y="45080"/>
                  </a:cubicBezTo>
                  <a:cubicBezTo>
                    <a:pt x="118205" y="46223"/>
                    <a:pt x="119825" y="47556"/>
                    <a:pt x="121444" y="48795"/>
                  </a:cubicBezTo>
                  <a:cubicBezTo>
                    <a:pt x="124873" y="51366"/>
                    <a:pt x="128206" y="53843"/>
                    <a:pt x="131540" y="56605"/>
                  </a:cubicBezTo>
                  <a:cubicBezTo>
                    <a:pt x="133445" y="58224"/>
                    <a:pt x="135350" y="59844"/>
                    <a:pt x="137160" y="61558"/>
                  </a:cubicBezTo>
                  <a:cubicBezTo>
                    <a:pt x="140113" y="64225"/>
                    <a:pt x="143066" y="66892"/>
                    <a:pt x="146018" y="69654"/>
                  </a:cubicBezTo>
                  <a:cubicBezTo>
                    <a:pt x="147923" y="71464"/>
                    <a:pt x="149828" y="73369"/>
                    <a:pt x="151733" y="75369"/>
                  </a:cubicBezTo>
                  <a:cubicBezTo>
                    <a:pt x="154496" y="78227"/>
                    <a:pt x="157258" y="81084"/>
                    <a:pt x="159925" y="84132"/>
                  </a:cubicBezTo>
                  <a:cubicBezTo>
                    <a:pt x="161639" y="86037"/>
                    <a:pt x="163354" y="87942"/>
                    <a:pt x="164973" y="89847"/>
                  </a:cubicBezTo>
                  <a:cubicBezTo>
                    <a:pt x="169069" y="94610"/>
                    <a:pt x="172974" y="99468"/>
                    <a:pt x="176879" y="104516"/>
                  </a:cubicBezTo>
                  <a:cubicBezTo>
                    <a:pt x="177737" y="105659"/>
                    <a:pt x="178594" y="106707"/>
                    <a:pt x="179451" y="107754"/>
                  </a:cubicBezTo>
                  <a:cubicBezTo>
                    <a:pt x="184023" y="113850"/>
                    <a:pt x="188309" y="120232"/>
                    <a:pt x="192500" y="126709"/>
                  </a:cubicBezTo>
                  <a:cubicBezTo>
                    <a:pt x="193548" y="128424"/>
                    <a:pt x="194596" y="130138"/>
                    <a:pt x="195644" y="131853"/>
                  </a:cubicBezTo>
                  <a:cubicBezTo>
                    <a:pt x="198692" y="136806"/>
                    <a:pt x="201740" y="141949"/>
                    <a:pt x="204502" y="147093"/>
                  </a:cubicBezTo>
                  <a:cubicBezTo>
                    <a:pt x="205645" y="149188"/>
                    <a:pt x="206788" y="151188"/>
                    <a:pt x="207836" y="153284"/>
                  </a:cubicBezTo>
                  <a:cubicBezTo>
                    <a:pt x="210884" y="159189"/>
                    <a:pt x="213836" y="165190"/>
                    <a:pt x="216599" y="171191"/>
                  </a:cubicBezTo>
                  <a:cubicBezTo>
                    <a:pt x="217075" y="172239"/>
                    <a:pt x="217646" y="173286"/>
                    <a:pt x="218123" y="174334"/>
                  </a:cubicBezTo>
                  <a:cubicBezTo>
                    <a:pt x="218504" y="175287"/>
                    <a:pt x="218885" y="176144"/>
                    <a:pt x="219266" y="177096"/>
                  </a:cubicBezTo>
                  <a:cubicBezTo>
                    <a:pt x="221171" y="181478"/>
                    <a:pt x="222885" y="185859"/>
                    <a:pt x="224600" y="190241"/>
                  </a:cubicBezTo>
                  <a:cubicBezTo>
                    <a:pt x="225266" y="191860"/>
                    <a:pt x="225838" y="193575"/>
                    <a:pt x="226409" y="195194"/>
                  </a:cubicBezTo>
                  <a:cubicBezTo>
                    <a:pt x="227838" y="199099"/>
                    <a:pt x="229172" y="203100"/>
                    <a:pt x="230410" y="207005"/>
                  </a:cubicBezTo>
                  <a:cubicBezTo>
                    <a:pt x="230886" y="208529"/>
                    <a:pt x="231362" y="210053"/>
                    <a:pt x="231839" y="211577"/>
                  </a:cubicBezTo>
                  <a:cubicBezTo>
                    <a:pt x="233458" y="216911"/>
                    <a:pt x="234887" y="222245"/>
                    <a:pt x="236125" y="227579"/>
                  </a:cubicBezTo>
                  <a:cubicBezTo>
                    <a:pt x="236220" y="228150"/>
                    <a:pt x="236315" y="228722"/>
                    <a:pt x="236506" y="229293"/>
                  </a:cubicBezTo>
                  <a:cubicBezTo>
                    <a:pt x="237554" y="234056"/>
                    <a:pt x="238506" y="238818"/>
                    <a:pt x="239268" y="243486"/>
                  </a:cubicBezTo>
                  <a:cubicBezTo>
                    <a:pt x="239554" y="245105"/>
                    <a:pt x="239744" y="246724"/>
                    <a:pt x="240030" y="248343"/>
                  </a:cubicBezTo>
                  <a:cubicBezTo>
                    <a:pt x="240602" y="252153"/>
                    <a:pt x="241078" y="256059"/>
                    <a:pt x="241459" y="259869"/>
                  </a:cubicBezTo>
                  <a:cubicBezTo>
                    <a:pt x="241649" y="261393"/>
                    <a:pt x="241745" y="263012"/>
                    <a:pt x="241935" y="264536"/>
                  </a:cubicBezTo>
                  <a:cubicBezTo>
                    <a:pt x="242316" y="269775"/>
                    <a:pt x="242602" y="274918"/>
                    <a:pt x="242602" y="279966"/>
                  </a:cubicBezTo>
                  <a:cubicBezTo>
                    <a:pt x="242602" y="307875"/>
                    <a:pt x="236315" y="330639"/>
                    <a:pt x="225457" y="347403"/>
                  </a:cubicBezTo>
                  <a:cubicBezTo>
                    <a:pt x="218980" y="357500"/>
                    <a:pt x="210788" y="365310"/>
                    <a:pt x="201168" y="370930"/>
                  </a:cubicBezTo>
                  <a:lnTo>
                    <a:pt x="228029" y="355309"/>
                  </a:lnTo>
                  <a:cubicBezTo>
                    <a:pt x="253460" y="340545"/>
                    <a:pt x="269272" y="309018"/>
                    <a:pt x="269462" y="264345"/>
                  </a:cubicBezTo>
                  <a:cubicBezTo>
                    <a:pt x="269462" y="259297"/>
                    <a:pt x="269272" y="254058"/>
                    <a:pt x="268891" y="248915"/>
                  </a:cubicBezTo>
                  <a:lnTo>
                    <a:pt x="268605" y="249010"/>
                  </a:lnTo>
                  <a:close/>
                </a:path>
              </a:pathLst>
            </a:custGeom>
            <a:gradFill>
              <a:gsLst>
                <a:gs pos="0">
                  <a:srgbClr val="AFEDAB"/>
                </a:gs>
                <a:gs pos="64583">
                  <a:srgbClr val="9FE09A"/>
                </a:gs>
                <a:gs pos="100000">
                  <a:srgbClr val="66B560"/>
                </a:gs>
              </a:gsLst>
              <a:lin ang="513267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02D64C26-8526-5D26-E976-6B82723ECDEF}"/>
                </a:ext>
              </a:extLst>
            </p:cNvPr>
            <p:cNvSpPr/>
            <p:nvPr/>
          </p:nvSpPr>
          <p:spPr>
            <a:xfrm>
              <a:off x="5213584" y="2861114"/>
              <a:ext cx="181874" cy="236668"/>
            </a:xfrm>
            <a:custGeom>
              <a:avLst/>
              <a:gdLst>
                <a:gd name="connsiteX0" fmla="*/ 178615 w 181874"/>
                <a:gd name="connsiteY0" fmla="*/ 191674 h 236668"/>
                <a:gd name="connsiteX1" fmla="*/ 181282 w 181874"/>
                <a:gd name="connsiteY1" fmla="*/ 202437 h 236668"/>
                <a:gd name="connsiteX2" fmla="*/ 159756 w 181874"/>
                <a:gd name="connsiteY2" fmla="*/ 232345 h 236668"/>
                <a:gd name="connsiteX3" fmla="*/ 154422 w 181874"/>
                <a:gd name="connsiteY3" fmla="*/ 231869 h 236668"/>
                <a:gd name="connsiteX4" fmla="*/ 151564 w 181874"/>
                <a:gd name="connsiteY4" fmla="*/ 229488 h 236668"/>
                <a:gd name="connsiteX5" fmla="*/ 137943 w 181874"/>
                <a:gd name="connsiteY5" fmla="*/ 214724 h 236668"/>
                <a:gd name="connsiteX6" fmla="*/ 132609 w 181874"/>
                <a:gd name="connsiteY6" fmla="*/ 210343 h 236668"/>
                <a:gd name="connsiteX7" fmla="*/ 125942 w 181874"/>
                <a:gd name="connsiteY7" fmla="*/ 208533 h 236668"/>
                <a:gd name="connsiteX8" fmla="*/ 119274 w 181874"/>
                <a:gd name="connsiteY8" fmla="*/ 216343 h 236668"/>
                <a:gd name="connsiteX9" fmla="*/ 117560 w 181874"/>
                <a:gd name="connsiteY9" fmla="*/ 232441 h 236668"/>
                <a:gd name="connsiteX10" fmla="*/ 112035 w 181874"/>
                <a:gd name="connsiteY10" fmla="*/ 236441 h 236668"/>
                <a:gd name="connsiteX11" fmla="*/ 90604 w 181874"/>
                <a:gd name="connsiteY11" fmla="*/ 227011 h 236668"/>
                <a:gd name="connsiteX12" fmla="*/ 69268 w 181874"/>
                <a:gd name="connsiteY12" fmla="*/ 211771 h 236668"/>
                <a:gd name="connsiteX13" fmla="*/ 63744 w 181874"/>
                <a:gd name="connsiteY13" fmla="*/ 201389 h 236668"/>
                <a:gd name="connsiteX14" fmla="*/ 62124 w 181874"/>
                <a:gd name="connsiteY14" fmla="*/ 183482 h 236668"/>
                <a:gd name="connsiteX15" fmla="*/ 55552 w 181874"/>
                <a:gd name="connsiteY15" fmla="*/ 168052 h 236668"/>
                <a:gd name="connsiteX16" fmla="*/ 48789 w 181874"/>
                <a:gd name="connsiteY16" fmla="*/ 162051 h 236668"/>
                <a:gd name="connsiteX17" fmla="*/ 43455 w 181874"/>
                <a:gd name="connsiteY17" fmla="*/ 160241 h 236668"/>
                <a:gd name="connsiteX18" fmla="*/ 29739 w 181874"/>
                <a:gd name="connsiteY18" fmla="*/ 159289 h 236668"/>
                <a:gd name="connsiteX19" fmla="*/ 26882 w 181874"/>
                <a:gd name="connsiteY19" fmla="*/ 158336 h 236668"/>
                <a:gd name="connsiteX20" fmla="*/ 21548 w 181874"/>
                <a:gd name="connsiteY20" fmla="*/ 152621 h 236668"/>
                <a:gd name="connsiteX21" fmla="*/ 307 w 181874"/>
                <a:gd name="connsiteY21" fmla="*/ 97948 h 236668"/>
                <a:gd name="connsiteX22" fmla="*/ 2974 w 181874"/>
                <a:gd name="connsiteY22" fmla="*/ 90328 h 236668"/>
                <a:gd name="connsiteX23" fmla="*/ 15071 w 181874"/>
                <a:gd name="connsiteY23" fmla="*/ 87089 h 236668"/>
                <a:gd name="connsiteX24" fmla="*/ 20595 w 181874"/>
                <a:gd name="connsiteY24" fmla="*/ 77850 h 236668"/>
                <a:gd name="connsiteX25" fmla="*/ 15166 w 181874"/>
                <a:gd name="connsiteY25" fmla="*/ 62229 h 236668"/>
                <a:gd name="connsiteX26" fmla="*/ 3165 w 181874"/>
                <a:gd name="connsiteY26" fmla="*/ 45084 h 236668"/>
                <a:gd name="connsiteX27" fmla="*/ 498 w 181874"/>
                <a:gd name="connsiteY27" fmla="*/ 34416 h 236668"/>
                <a:gd name="connsiteX28" fmla="*/ 22024 w 181874"/>
                <a:gd name="connsiteY28" fmla="*/ 4507 h 236668"/>
                <a:gd name="connsiteX29" fmla="*/ 27358 w 181874"/>
                <a:gd name="connsiteY29" fmla="*/ 4888 h 236668"/>
                <a:gd name="connsiteX30" fmla="*/ 30311 w 181874"/>
                <a:gd name="connsiteY30" fmla="*/ 7270 h 236668"/>
                <a:gd name="connsiteX31" fmla="*/ 43932 w 181874"/>
                <a:gd name="connsiteY31" fmla="*/ 21938 h 236668"/>
                <a:gd name="connsiteX32" fmla="*/ 49266 w 181874"/>
                <a:gd name="connsiteY32" fmla="*/ 26320 h 236668"/>
                <a:gd name="connsiteX33" fmla="*/ 56028 w 181874"/>
                <a:gd name="connsiteY33" fmla="*/ 28129 h 236668"/>
                <a:gd name="connsiteX34" fmla="*/ 62696 w 181874"/>
                <a:gd name="connsiteY34" fmla="*/ 20319 h 236668"/>
                <a:gd name="connsiteX35" fmla="*/ 64410 w 181874"/>
                <a:gd name="connsiteY35" fmla="*/ 4222 h 236668"/>
                <a:gd name="connsiteX36" fmla="*/ 70125 w 181874"/>
                <a:gd name="connsiteY36" fmla="*/ 316 h 236668"/>
                <a:gd name="connsiteX37" fmla="*/ 91461 w 181874"/>
                <a:gd name="connsiteY37" fmla="*/ 9746 h 236668"/>
                <a:gd name="connsiteX38" fmla="*/ 112607 w 181874"/>
                <a:gd name="connsiteY38" fmla="*/ 24796 h 236668"/>
                <a:gd name="connsiteX39" fmla="*/ 118227 w 181874"/>
                <a:gd name="connsiteY39" fmla="*/ 35273 h 236668"/>
                <a:gd name="connsiteX40" fmla="*/ 119846 w 181874"/>
                <a:gd name="connsiteY40" fmla="*/ 53275 h 236668"/>
                <a:gd name="connsiteX41" fmla="*/ 133086 w 181874"/>
                <a:gd name="connsiteY41" fmla="*/ 74707 h 236668"/>
                <a:gd name="connsiteX42" fmla="*/ 138515 w 181874"/>
                <a:gd name="connsiteY42" fmla="*/ 76612 h 236668"/>
                <a:gd name="connsiteX43" fmla="*/ 152136 w 181874"/>
                <a:gd name="connsiteY43" fmla="*/ 77564 h 236668"/>
                <a:gd name="connsiteX44" fmla="*/ 155088 w 181874"/>
                <a:gd name="connsiteY44" fmla="*/ 78517 h 236668"/>
                <a:gd name="connsiteX45" fmla="*/ 160326 w 181874"/>
                <a:gd name="connsiteY45" fmla="*/ 84232 h 236668"/>
                <a:gd name="connsiteX46" fmla="*/ 181568 w 181874"/>
                <a:gd name="connsiteY46" fmla="*/ 138810 h 236668"/>
                <a:gd name="connsiteX47" fmla="*/ 178901 w 181874"/>
                <a:gd name="connsiteY47" fmla="*/ 146525 h 236668"/>
                <a:gd name="connsiteX48" fmla="*/ 166803 w 181874"/>
                <a:gd name="connsiteY48" fmla="*/ 149764 h 236668"/>
                <a:gd name="connsiteX49" fmla="*/ 161280 w 181874"/>
                <a:gd name="connsiteY49" fmla="*/ 159003 h 236668"/>
                <a:gd name="connsiteX50" fmla="*/ 166709 w 181874"/>
                <a:gd name="connsiteY50" fmla="*/ 174529 h 236668"/>
                <a:gd name="connsiteX51" fmla="*/ 178709 w 181874"/>
                <a:gd name="connsiteY51" fmla="*/ 191674 h 236668"/>
                <a:gd name="connsiteX52" fmla="*/ 178615 w 181874"/>
                <a:gd name="connsiteY52" fmla="*/ 191674 h 236668"/>
                <a:gd name="connsiteX53" fmla="*/ 90699 w 181874"/>
                <a:gd name="connsiteY53" fmla="*/ 151764 h 236668"/>
                <a:gd name="connsiteX54" fmla="*/ 119941 w 181874"/>
                <a:gd name="connsiteY54" fmla="*/ 135190 h 236668"/>
                <a:gd name="connsiteX55" fmla="*/ 90890 w 181874"/>
                <a:gd name="connsiteY55" fmla="*/ 84898 h 236668"/>
                <a:gd name="connsiteX56" fmla="*/ 61743 w 181874"/>
                <a:gd name="connsiteY56" fmla="*/ 101567 h 236668"/>
                <a:gd name="connsiteX57" fmla="*/ 90699 w 181874"/>
                <a:gd name="connsiteY57" fmla="*/ 151764 h 23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81874" h="236668">
                  <a:moveTo>
                    <a:pt x="178615" y="191674"/>
                  </a:moveTo>
                  <a:cubicBezTo>
                    <a:pt x="181092" y="195293"/>
                    <a:pt x="182139" y="199579"/>
                    <a:pt x="181282" y="202437"/>
                  </a:cubicBezTo>
                  <a:cubicBezTo>
                    <a:pt x="176996" y="215772"/>
                    <a:pt x="169566" y="225964"/>
                    <a:pt x="159756" y="232345"/>
                  </a:cubicBezTo>
                  <a:cubicBezTo>
                    <a:pt x="158327" y="233298"/>
                    <a:pt x="156422" y="233012"/>
                    <a:pt x="154422" y="231869"/>
                  </a:cubicBezTo>
                  <a:cubicBezTo>
                    <a:pt x="153469" y="231298"/>
                    <a:pt x="152421" y="230536"/>
                    <a:pt x="151564" y="229488"/>
                  </a:cubicBezTo>
                  <a:lnTo>
                    <a:pt x="137943" y="214724"/>
                  </a:lnTo>
                  <a:cubicBezTo>
                    <a:pt x="136229" y="212914"/>
                    <a:pt x="134419" y="211390"/>
                    <a:pt x="132609" y="210343"/>
                  </a:cubicBezTo>
                  <a:cubicBezTo>
                    <a:pt x="130323" y="209009"/>
                    <a:pt x="127942" y="208342"/>
                    <a:pt x="125942" y="208533"/>
                  </a:cubicBezTo>
                  <a:cubicBezTo>
                    <a:pt x="122227" y="208819"/>
                    <a:pt x="119751" y="211771"/>
                    <a:pt x="119274" y="216343"/>
                  </a:cubicBezTo>
                  <a:lnTo>
                    <a:pt x="117560" y="232441"/>
                  </a:lnTo>
                  <a:cubicBezTo>
                    <a:pt x="117179" y="235679"/>
                    <a:pt x="114988" y="237298"/>
                    <a:pt x="112035" y="236441"/>
                  </a:cubicBezTo>
                  <a:cubicBezTo>
                    <a:pt x="104987" y="234346"/>
                    <a:pt x="97843" y="231107"/>
                    <a:pt x="90604" y="227011"/>
                  </a:cubicBezTo>
                  <a:cubicBezTo>
                    <a:pt x="83365" y="222916"/>
                    <a:pt x="76221" y="217772"/>
                    <a:pt x="69268" y="211771"/>
                  </a:cubicBezTo>
                  <a:cubicBezTo>
                    <a:pt x="66315" y="209200"/>
                    <a:pt x="64029" y="205009"/>
                    <a:pt x="63744" y="201389"/>
                  </a:cubicBezTo>
                  <a:lnTo>
                    <a:pt x="62124" y="183482"/>
                  </a:lnTo>
                  <a:cubicBezTo>
                    <a:pt x="61648" y="178339"/>
                    <a:pt x="59172" y="172624"/>
                    <a:pt x="55552" y="168052"/>
                  </a:cubicBezTo>
                  <a:cubicBezTo>
                    <a:pt x="53457" y="165480"/>
                    <a:pt x="51171" y="163384"/>
                    <a:pt x="48789" y="162051"/>
                  </a:cubicBezTo>
                  <a:cubicBezTo>
                    <a:pt x="46980" y="161003"/>
                    <a:pt x="45170" y="160336"/>
                    <a:pt x="43455" y="160241"/>
                  </a:cubicBezTo>
                  <a:lnTo>
                    <a:pt x="29739" y="159289"/>
                  </a:lnTo>
                  <a:cubicBezTo>
                    <a:pt x="28787" y="159289"/>
                    <a:pt x="27834" y="158908"/>
                    <a:pt x="26882" y="158336"/>
                  </a:cubicBezTo>
                  <a:cubicBezTo>
                    <a:pt x="24882" y="157193"/>
                    <a:pt x="22977" y="155193"/>
                    <a:pt x="21548" y="152621"/>
                  </a:cubicBezTo>
                  <a:cubicBezTo>
                    <a:pt x="11737" y="134809"/>
                    <a:pt x="4498" y="116140"/>
                    <a:pt x="307" y="97948"/>
                  </a:cubicBezTo>
                  <a:cubicBezTo>
                    <a:pt x="-550" y="94042"/>
                    <a:pt x="402" y="90994"/>
                    <a:pt x="2974" y="90328"/>
                  </a:cubicBezTo>
                  <a:lnTo>
                    <a:pt x="15071" y="87089"/>
                  </a:lnTo>
                  <a:cubicBezTo>
                    <a:pt x="18500" y="86232"/>
                    <a:pt x="20595" y="82803"/>
                    <a:pt x="20595" y="77850"/>
                  </a:cubicBezTo>
                  <a:cubicBezTo>
                    <a:pt x="20595" y="72897"/>
                    <a:pt x="18595" y="67182"/>
                    <a:pt x="15166" y="62229"/>
                  </a:cubicBezTo>
                  <a:lnTo>
                    <a:pt x="3165" y="45084"/>
                  </a:lnTo>
                  <a:cubicBezTo>
                    <a:pt x="593" y="41464"/>
                    <a:pt x="-360" y="37178"/>
                    <a:pt x="498" y="34416"/>
                  </a:cubicBezTo>
                  <a:cubicBezTo>
                    <a:pt x="4784" y="21081"/>
                    <a:pt x="12118" y="10794"/>
                    <a:pt x="22024" y="4507"/>
                  </a:cubicBezTo>
                  <a:cubicBezTo>
                    <a:pt x="23453" y="3555"/>
                    <a:pt x="25358" y="3745"/>
                    <a:pt x="27358" y="4888"/>
                  </a:cubicBezTo>
                  <a:cubicBezTo>
                    <a:pt x="28311" y="5460"/>
                    <a:pt x="29358" y="6317"/>
                    <a:pt x="30311" y="7270"/>
                  </a:cubicBezTo>
                  <a:lnTo>
                    <a:pt x="43932" y="21938"/>
                  </a:lnTo>
                  <a:cubicBezTo>
                    <a:pt x="45646" y="23748"/>
                    <a:pt x="47456" y="25272"/>
                    <a:pt x="49266" y="26320"/>
                  </a:cubicBezTo>
                  <a:cubicBezTo>
                    <a:pt x="51647" y="27653"/>
                    <a:pt x="53933" y="28320"/>
                    <a:pt x="56028" y="28129"/>
                  </a:cubicBezTo>
                  <a:cubicBezTo>
                    <a:pt x="59743" y="27844"/>
                    <a:pt x="62220" y="24891"/>
                    <a:pt x="62696" y="20319"/>
                  </a:cubicBezTo>
                  <a:lnTo>
                    <a:pt x="64410" y="4222"/>
                  </a:lnTo>
                  <a:cubicBezTo>
                    <a:pt x="64791" y="888"/>
                    <a:pt x="67077" y="-731"/>
                    <a:pt x="70125" y="316"/>
                  </a:cubicBezTo>
                  <a:cubicBezTo>
                    <a:pt x="77079" y="2507"/>
                    <a:pt x="84222" y="5746"/>
                    <a:pt x="91461" y="9746"/>
                  </a:cubicBezTo>
                  <a:cubicBezTo>
                    <a:pt x="98605" y="14032"/>
                    <a:pt x="105654" y="18985"/>
                    <a:pt x="112607" y="24796"/>
                  </a:cubicBezTo>
                  <a:cubicBezTo>
                    <a:pt x="115655" y="27367"/>
                    <a:pt x="117846" y="31463"/>
                    <a:pt x="118227" y="35273"/>
                  </a:cubicBezTo>
                  <a:lnTo>
                    <a:pt x="119846" y="53275"/>
                  </a:lnTo>
                  <a:cubicBezTo>
                    <a:pt x="120513" y="61562"/>
                    <a:pt x="126323" y="70706"/>
                    <a:pt x="133086" y="74707"/>
                  </a:cubicBezTo>
                  <a:cubicBezTo>
                    <a:pt x="134991" y="75754"/>
                    <a:pt x="136800" y="76421"/>
                    <a:pt x="138515" y="76612"/>
                  </a:cubicBezTo>
                  <a:lnTo>
                    <a:pt x="152136" y="77564"/>
                  </a:lnTo>
                  <a:cubicBezTo>
                    <a:pt x="153088" y="77564"/>
                    <a:pt x="154136" y="77945"/>
                    <a:pt x="155088" y="78517"/>
                  </a:cubicBezTo>
                  <a:cubicBezTo>
                    <a:pt x="157089" y="79660"/>
                    <a:pt x="158993" y="81660"/>
                    <a:pt x="160326" y="84232"/>
                  </a:cubicBezTo>
                  <a:cubicBezTo>
                    <a:pt x="170042" y="101948"/>
                    <a:pt x="177377" y="120617"/>
                    <a:pt x="181568" y="138810"/>
                  </a:cubicBezTo>
                  <a:cubicBezTo>
                    <a:pt x="182425" y="142715"/>
                    <a:pt x="181473" y="145858"/>
                    <a:pt x="178901" y="146525"/>
                  </a:cubicBezTo>
                  <a:lnTo>
                    <a:pt x="166803" y="149764"/>
                  </a:lnTo>
                  <a:cubicBezTo>
                    <a:pt x="163374" y="150716"/>
                    <a:pt x="161280" y="154145"/>
                    <a:pt x="161280" y="159003"/>
                  </a:cubicBezTo>
                  <a:cubicBezTo>
                    <a:pt x="161280" y="163861"/>
                    <a:pt x="163280" y="169671"/>
                    <a:pt x="166709" y="174529"/>
                  </a:cubicBezTo>
                  <a:lnTo>
                    <a:pt x="178709" y="191674"/>
                  </a:lnTo>
                  <a:lnTo>
                    <a:pt x="178615" y="191674"/>
                  </a:lnTo>
                  <a:close/>
                  <a:moveTo>
                    <a:pt x="90699" y="151764"/>
                  </a:moveTo>
                  <a:cubicBezTo>
                    <a:pt x="106797" y="161003"/>
                    <a:pt x="119846" y="153669"/>
                    <a:pt x="119941" y="135190"/>
                  </a:cubicBezTo>
                  <a:cubicBezTo>
                    <a:pt x="120036" y="116712"/>
                    <a:pt x="106987" y="94138"/>
                    <a:pt x="90890" y="84898"/>
                  </a:cubicBezTo>
                  <a:cubicBezTo>
                    <a:pt x="74793" y="75659"/>
                    <a:pt x="61743" y="83089"/>
                    <a:pt x="61743" y="101567"/>
                  </a:cubicBezTo>
                  <a:cubicBezTo>
                    <a:pt x="61743" y="120046"/>
                    <a:pt x="74697" y="142525"/>
                    <a:pt x="90699" y="151764"/>
                  </a:cubicBezTo>
                  <a:close/>
                </a:path>
              </a:pathLst>
            </a:custGeom>
            <a:solidFill>
              <a:srgbClr val="DBFA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9E29989A-30AD-A157-1818-705A23C4882E}"/>
                </a:ext>
              </a:extLst>
            </p:cNvPr>
            <p:cNvSpPr/>
            <p:nvPr/>
          </p:nvSpPr>
          <p:spPr>
            <a:xfrm>
              <a:off x="6572247" y="3089953"/>
              <a:ext cx="70125" cy="126469"/>
            </a:xfrm>
            <a:custGeom>
              <a:avLst/>
              <a:gdLst>
                <a:gd name="connsiteX0" fmla="*/ 49218 w 70125"/>
                <a:gd name="connsiteY0" fmla="*/ 17399 h 126469"/>
                <a:gd name="connsiteX1" fmla="*/ 11451 w 70125"/>
                <a:gd name="connsiteY1" fmla="*/ 41 h 126469"/>
                <a:gd name="connsiteX2" fmla="*/ 9013 w 70125"/>
                <a:gd name="connsiteY2" fmla="*/ 8343 h 126469"/>
                <a:gd name="connsiteX3" fmla="*/ 17423 w 70125"/>
                <a:gd name="connsiteY3" fmla="*/ 16002 h 126469"/>
                <a:gd name="connsiteX4" fmla="*/ 45732 w 70125"/>
                <a:gd name="connsiteY4" fmla="*/ 29101 h 126469"/>
                <a:gd name="connsiteX5" fmla="*/ 56161 w 70125"/>
                <a:gd name="connsiteY5" fmla="*/ 45179 h 126469"/>
                <a:gd name="connsiteX6" fmla="*/ 57705 w 70125"/>
                <a:gd name="connsiteY6" fmla="*/ 55999 h 126469"/>
                <a:gd name="connsiteX7" fmla="*/ 50104 w 70125"/>
                <a:gd name="connsiteY7" fmla="*/ 49601 h 126469"/>
                <a:gd name="connsiteX8" fmla="*/ 16090 w 70125"/>
                <a:gd name="connsiteY8" fmla="*/ 34033 h 126469"/>
                <a:gd name="connsiteX9" fmla="*/ 412 w 70125"/>
                <a:gd name="connsiteY9" fmla="*/ 60198 h 126469"/>
                <a:gd name="connsiteX10" fmla="*/ 23500 w 70125"/>
                <a:gd name="connsiteY10" fmla="*/ 101640 h 126469"/>
                <a:gd name="connsiteX11" fmla="*/ 54495 w 70125"/>
                <a:gd name="connsiteY11" fmla="*/ 112285 h 126469"/>
                <a:gd name="connsiteX12" fmla="*/ 57752 w 70125"/>
                <a:gd name="connsiteY12" fmla="*/ 112047 h 126469"/>
                <a:gd name="connsiteX13" fmla="*/ 57752 w 70125"/>
                <a:gd name="connsiteY13" fmla="*/ 114909 h 126469"/>
                <a:gd name="connsiteX14" fmla="*/ 63943 w 70125"/>
                <a:gd name="connsiteY14" fmla="*/ 125625 h 126469"/>
                <a:gd name="connsiteX15" fmla="*/ 68744 w 70125"/>
                <a:gd name="connsiteY15" fmla="*/ 125757 h 126469"/>
                <a:gd name="connsiteX16" fmla="*/ 70125 w 70125"/>
                <a:gd name="connsiteY16" fmla="*/ 122053 h 126469"/>
                <a:gd name="connsiteX17" fmla="*/ 70125 w 70125"/>
                <a:gd name="connsiteY17" fmla="*/ 66906 h 126469"/>
                <a:gd name="connsiteX18" fmla="*/ 67658 w 70125"/>
                <a:gd name="connsiteY18" fmla="*/ 46526 h 126469"/>
                <a:gd name="connsiteX19" fmla="*/ 58057 w 70125"/>
                <a:gd name="connsiteY19" fmla="*/ 27183 h 126469"/>
                <a:gd name="connsiteX20" fmla="*/ 49218 w 70125"/>
                <a:gd name="connsiteY20" fmla="*/ 17399 h 126469"/>
                <a:gd name="connsiteX21" fmla="*/ 47922 w 70125"/>
                <a:gd name="connsiteY21" fmla="*/ 62412 h 126469"/>
                <a:gd name="connsiteX22" fmla="*/ 57752 w 70125"/>
                <a:gd name="connsiteY22" fmla="*/ 70987 h 126469"/>
                <a:gd name="connsiteX23" fmla="*/ 57752 w 70125"/>
                <a:gd name="connsiteY23" fmla="*/ 94855 h 126469"/>
                <a:gd name="connsiteX24" fmla="*/ 56885 w 70125"/>
                <a:gd name="connsiteY24" fmla="*/ 95099 h 126469"/>
                <a:gd name="connsiteX25" fmla="*/ 48684 w 70125"/>
                <a:gd name="connsiteY25" fmla="*/ 96308 h 126469"/>
                <a:gd name="connsiteX26" fmla="*/ 25691 w 70125"/>
                <a:gd name="connsiteY26" fmla="*/ 88843 h 126469"/>
                <a:gd name="connsiteX27" fmla="*/ 16014 w 70125"/>
                <a:gd name="connsiteY27" fmla="*/ 76226 h 126469"/>
                <a:gd name="connsiteX28" fmla="*/ 12613 w 70125"/>
                <a:gd name="connsiteY28" fmla="*/ 64907 h 126469"/>
                <a:gd name="connsiteX29" fmla="*/ 13509 w 70125"/>
                <a:gd name="connsiteY29" fmla="*/ 54840 h 126469"/>
                <a:gd name="connsiteX30" fmla="*/ 21443 w 70125"/>
                <a:gd name="connsiteY30" fmla="*/ 50008 h 126469"/>
                <a:gd name="connsiteX31" fmla="*/ 47922 w 70125"/>
                <a:gd name="connsiteY31" fmla="*/ 62412 h 1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25" h="126469">
                  <a:moveTo>
                    <a:pt x="49218" y="17399"/>
                  </a:moveTo>
                  <a:cubicBezTo>
                    <a:pt x="30720" y="510"/>
                    <a:pt x="16166" y="-243"/>
                    <a:pt x="11451" y="41"/>
                  </a:cubicBezTo>
                  <a:cubicBezTo>
                    <a:pt x="8451" y="218"/>
                    <a:pt x="7375" y="3939"/>
                    <a:pt x="9013" y="8343"/>
                  </a:cubicBezTo>
                  <a:cubicBezTo>
                    <a:pt x="10680" y="12755"/>
                    <a:pt x="14442" y="16186"/>
                    <a:pt x="17423" y="16002"/>
                  </a:cubicBezTo>
                  <a:cubicBezTo>
                    <a:pt x="20776" y="15808"/>
                    <a:pt x="31749" y="16334"/>
                    <a:pt x="45732" y="29101"/>
                  </a:cubicBezTo>
                  <a:cubicBezTo>
                    <a:pt x="52113" y="34948"/>
                    <a:pt x="54790" y="40417"/>
                    <a:pt x="56161" y="45179"/>
                  </a:cubicBezTo>
                  <a:cubicBezTo>
                    <a:pt x="57257" y="48973"/>
                    <a:pt x="57609" y="52597"/>
                    <a:pt x="57705" y="55999"/>
                  </a:cubicBezTo>
                  <a:cubicBezTo>
                    <a:pt x="55485" y="53999"/>
                    <a:pt x="52923" y="51807"/>
                    <a:pt x="50104" y="49601"/>
                  </a:cubicBezTo>
                  <a:cubicBezTo>
                    <a:pt x="40760" y="42289"/>
                    <a:pt x="27977" y="34328"/>
                    <a:pt x="16090" y="34033"/>
                  </a:cubicBezTo>
                  <a:cubicBezTo>
                    <a:pt x="3012" y="33717"/>
                    <a:pt x="-1474" y="45958"/>
                    <a:pt x="412" y="60198"/>
                  </a:cubicBezTo>
                  <a:cubicBezTo>
                    <a:pt x="2250" y="74180"/>
                    <a:pt x="10432" y="91382"/>
                    <a:pt x="23500" y="101640"/>
                  </a:cubicBezTo>
                  <a:cubicBezTo>
                    <a:pt x="35292" y="110900"/>
                    <a:pt x="46656" y="112570"/>
                    <a:pt x="54495" y="112285"/>
                  </a:cubicBezTo>
                  <a:cubicBezTo>
                    <a:pt x="55647" y="112244"/>
                    <a:pt x="56743" y="112165"/>
                    <a:pt x="57752" y="112047"/>
                  </a:cubicBezTo>
                  <a:lnTo>
                    <a:pt x="57752" y="114909"/>
                  </a:lnTo>
                  <a:cubicBezTo>
                    <a:pt x="57752" y="118855"/>
                    <a:pt x="60524" y="123653"/>
                    <a:pt x="63943" y="125625"/>
                  </a:cubicBezTo>
                  <a:cubicBezTo>
                    <a:pt x="65877" y="126741"/>
                    <a:pt x="67611" y="126716"/>
                    <a:pt x="68744" y="125757"/>
                  </a:cubicBezTo>
                  <a:cubicBezTo>
                    <a:pt x="69611" y="125031"/>
                    <a:pt x="70125" y="123761"/>
                    <a:pt x="70125" y="122053"/>
                  </a:cubicBezTo>
                  <a:lnTo>
                    <a:pt x="70125" y="66906"/>
                  </a:lnTo>
                  <a:cubicBezTo>
                    <a:pt x="70125" y="62581"/>
                    <a:pt x="70144" y="55136"/>
                    <a:pt x="67658" y="46526"/>
                  </a:cubicBezTo>
                  <a:cubicBezTo>
                    <a:pt x="65858" y="40272"/>
                    <a:pt x="62829" y="33642"/>
                    <a:pt x="58057" y="27183"/>
                  </a:cubicBezTo>
                  <a:cubicBezTo>
                    <a:pt x="55590" y="23851"/>
                    <a:pt x="52675" y="20570"/>
                    <a:pt x="49218" y="17399"/>
                  </a:cubicBezTo>
                  <a:close/>
                  <a:moveTo>
                    <a:pt x="47922" y="62412"/>
                  </a:moveTo>
                  <a:cubicBezTo>
                    <a:pt x="51923" y="65537"/>
                    <a:pt x="55333" y="68653"/>
                    <a:pt x="57752" y="70987"/>
                  </a:cubicBezTo>
                  <a:lnTo>
                    <a:pt x="57752" y="94855"/>
                  </a:lnTo>
                  <a:lnTo>
                    <a:pt x="56885" y="95099"/>
                  </a:lnTo>
                  <a:cubicBezTo>
                    <a:pt x="54904" y="95634"/>
                    <a:pt x="52066" y="96192"/>
                    <a:pt x="48684" y="96308"/>
                  </a:cubicBezTo>
                  <a:cubicBezTo>
                    <a:pt x="41760" y="96561"/>
                    <a:pt x="33425" y="94917"/>
                    <a:pt x="25691" y="88843"/>
                  </a:cubicBezTo>
                  <a:cubicBezTo>
                    <a:pt x="21681" y="85697"/>
                    <a:pt x="18347" y="81176"/>
                    <a:pt x="16014" y="76226"/>
                  </a:cubicBezTo>
                  <a:cubicBezTo>
                    <a:pt x="14290" y="72562"/>
                    <a:pt x="13109" y="68660"/>
                    <a:pt x="12613" y="64907"/>
                  </a:cubicBezTo>
                  <a:cubicBezTo>
                    <a:pt x="12080" y="60963"/>
                    <a:pt x="12356" y="57459"/>
                    <a:pt x="13509" y="54840"/>
                  </a:cubicBezTo>
                  <a:cubicBezTo>
                    <a:pt x="14861" y="51759"/>
                    <a:pt x="17461" y="49906"/>
                    <a:pt x="21443" y="50008"/>
                  </a:cubicBezTo>
                  <a:cubicBezTo>
                    <a:pt x="29996" y="50214"/>
                    <a:pt x="39788" y="56046"/>
                    <a:pt x="47922" y="62412"/>
                  </a:cubicBezTo>
                  <a:close/>
                </a:path>
              </a:pathLst>
            </a:custGeom>
            <a:solidFill>
              <a:srgbClr val="DEECF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21FEBBF-B514-FF92-7843-C8D54D3659A9}"/>
                </a:ext>
              </a:extLst>
            </p:cNvPr>
            <p:cNvSpPr/>
            <p:nvPr/>
          </p:nvSpPr>
          <p:spPr>
            <a:xfrm>
              <a:off x="6762752" y="3080499"/>
              <a:ext cx="86605" cy="131647"/>
            </a:xfrm>
            <a:custGeom>
              <a:avLst/>
              <a:gdLst>
                <a:gd name="connsiteX0" fmla="*/ 45041 w 86605"/>
                <a:gd name="connsiteY0" fmla="*/ 8041 h 131647"/>
                <a:gd name="connsiteX1" fmla="*/ 41117 w 86605"/>
                <a:gd name="connsiteY1" fmla="*/ 1276 h 131647"/>
                <a:gd name="connsiteX2" fmla="*/ 33297 w 86605"/>
                <a:gd name="connsiteY2" fmla="*/ 10320 h 131647"/>
                <a:gd name="connsiteX3" fmla="*/ 29839 w 86605"/>
                <a:gd name="connsiteY3" fmla="*/ 26724 h 131647"/>
                <a:gd name="connsiteX4" fmla="*/ 12790 w 86605"/>
                <a:gd name="connsiteY4" fmla="*/ 36335 h 131647"/>
                <a:gd name="connsiteX5" fmla="*/ 6189 w 86605"/>
                <a:gd name="connsiteY5" fmla="*/ 46782 h 131647"/>
                <a:gd name="connsiteX6" fmla="*/ 11942 w 86605"/>
                <a:gd name="connsiteY6" fmla="*/ 51076 h 131647"/>
                <a:gd name="connsiteX7" fmla="*/ 27153 w 86605"/>
                <a:gd name="connsiteY7" fmla="*/ 42648 h 131647"/>
                <a:gd name="connsiteX8" fmla="*/ 24677 w 86605"/>
                <a:gd name="connsiteY8" fmla="*/ 63737 h 131647"/>
                <a:gd name="connsiteX9" fmla="*/ 3741 w 86605"/>
                <a:gd name="connsiteY9" fmla="*/ 98804 h 131647"/>
                <a:gd name="connsiteX10" fmla="*/ 5436 w 86605"/>
                <a:gd name="connsiteY10" fmla="*/ 130619 h 131647"/>
                <a:gd name="connsiteX11" fmla="*/ 23000 w 86605"/>
                <a:gd name="connsiteY11" fmla="*/ 125102 h 131647"/>
                <a:gd name="connsiteX12" fmla="*/ 33230 w 86605"/>
                <a:gd name="connsiteY12" fmla="*/ 114679 h 131647"/>
                <a:gd name="connsiteX13" fmla="*/ 33373 w 86605"/>
                <a:gd name="connsiteY13" fmla="*/ 115038 h 131647"/>
                <a:gd name="connsiteX14" fmla="*/ 41336 w 86605"/>
                <a:gd name="connsiteY14" fmla="*/ 114637 h 131647"/>
                <a:gd name="connsiteX15" fmla="*/ 44965 w 86605"/>
                <a:gd name="connsiteY15" fmla="*/ 103348 h 131647"/>
                <a:gd name="connsiteX16" fmla="*/ 43565 w 86605"/>
                <a:gd name="connsiteY16" fmla="*/ 100123 h 131647"/>
                <a:gd name="connsiteX17" fmla="*/ 62415 w 86605"/>
                <a:gd name="connsiteY17" fmla="*/ 50694 h 131647"/>
                <a:gd name="connsiteX18" fmla="*/ 72950 w 86605"/>
                <a:gd name="connsiteY18" fmla="*/ 57936 h 131647"/>
                <a:gd name="connsiteX19" fmla="*/ 72150 w 86605"/>
                <a:gd name="connsiteY19" fmla="*/ 76997 h 131647"/>
                <a:gd name="connsiteX20" fmla="*/ 55528 w 86605"/>
                <a:gd name="connsiteY20" fmla="*/ 102605 h 131647"/>
                <a:gd name="connsiteX21" fmla="*/ 51976 w 86605"/>
                <a:gd name="connsiteY21" fmla="*/ 113890 h 131647"/>
                <a:gd name="connsiteX22" fmla="*/ 59967 w 86605"/>
                <a:gd name="connsiteY22" fmla="*/ 113377 h 131647"/>
                <a:gd name="connsiteX23" fmla="*/ 83284 w 86605"/>
                <a:gd name="connsiteY23" fmla="*/ 76795 h 131647"/>
                <a:gd name="connsiteX24" fmla="*/ 84561 w 86605"/>
                <a:gd name="connsiteY24" fmla="*/ 46274 h 131647"/>
                <a:gd name="connsiteX25" fmla="*/ 63901 w 86605"/>
                <a:gd name="connsiteY25" fmla="*/ 35116 h 131647"/>
                <a:gd name="connsiteX26" fmla="*/ 63920 w 86605"/>
                <a:gd name="connsiteY26" fmla="*/ 32990 h 131647"/>
                <a:gd name="connsiteX27" fmla="*/ 57738 w 86605"/>
                <a:gd name="connsiteY27" fmla="*/ 29418 h 131647"/>
                <a:gd name="connsiteX28" fmla="*/ 51556 w 86605"/>
                <a:gd name="connsiteY28" fmla="*/ 39878 h 131647"/>
                <a:gd name="connsiteX29" fmla="*/ 37755 w 86605"/>
                <a:gd name="connsiteY29" fmla="*/ 50107 h 131647"/>
                <a:gd name="connsiteX30" fmla="*/ 39879 w 86605"/>
                <a:gd name="connsiteY30" fmla="*/ 34595 h 131647"/>
                <a:gd name="connsiteX31" fmla="*/ 67397 w 86605"/>
                <a:gd name="connsiteY31" fmla="*/ 14125 h 131647"/>
                <a:gd name="connsiteX32" fmla="*/ 72007 w 86605"/>
                <a:gd name="connsiteY32" fmla="*/ 2876 h 131647"/>
                <a:gd name="connsiteX33" fmla="*/ 64568 w 86605"/>
                <a:gd name="connsiteY33" fmla="*/ 1850 h 131647"/>
                <a:gd name="connsiteX34" fmla="*/ 42803 w 86605"/>
                <a:gd name="connsiteY34" fmla="*/ 18281 h 131647"/>
                <a:gd name="connsiteX35" fmla="*/ 45041 w 86605"/>
                <a:gd name="connsiteY35" fmla="*/ 8041 h 131647"/>
                <a:gd name="connsiteX36" fmla="*/ 14695 w 86605"/>
                <a:gd name="connsiteY36" fmla="*/ 99133 h 131647"/>
                <a:gd name="connsiteX37" fmla="*/ 24144 w 86605"/>
                <a:gd name="connsiteY37" fmla="*/ 81295 h 131647"/>
                <a:gd name="connsiteX38" fmla="*/ 25267 w 86605"/>
                <a:gd name="connsiteY38" fmla="*/ 93189 h 131647"/>
                <a:gd name="connsiteX39" fmla="*/ 28458 w 86605"/>
                <a:gd name="connsiteY39" fmla="*/ 104421 h 131647"/>
                <a:gd name="connsiteX40" fmla="*/ 20400 w 86605"/>
                <a:gd name="connsiteY40" fmla="*/ 112632 h 131647"/>
                <a:gd name="connsiteX41" fmla="*/ 14276 w 86605"/>
                <a:gd name="connsiteY41" fmla="*/ 115521 h 131647"/>
                <a:gd name="connsiteX42" fmla="*/ 14695 w 86605"/>
                <a:gd name="connsiteY42" fmla="*/ 99133 h 131647"/>
                <a:gd name="connsiteX43" fmla="*/ 50280 w 86605"/>
                <a:gd name="connsiteY43" fmla="*/ 54893 h 131647"/>
                <a:gd name="connsiteX44" fmla="*/ 38612 w 86605"/>
                <a:gd name="connsiteY44" fmla="*/ 88754 h 131647"/>
                <a:gd name="connsiteX45" fmla="*/ 37440 w 86605"/>
                <a:gd name="connsiteY45" fmla="*/ 83604 h 131647"/>
                <a:gd name="connsiteX46" fmla="*/ 36526 w 86605"/>
                <a:gd name="connsiteY46" fmla="*/ 66362 h 131647"/>
                <a:gd name="connsiteX47" fmla="*/ 39317 w 86605"/>
                <a:gd name="connsiteY47" fmla="*/ 63596 h 131647"/>
                <a:gd name="connsiteX48" fmla="*/ 50280 w 86605"/>
                <a:gd name="connsiteY48" fmla="*/ 54893 h 13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6605" h="131647">
                  <a:moveTo>
                    <a:pt x="45041" y="8041"/>
                  </a:moveTo>
                  <a:cubicBezTo>
                    <a:pt x="46118" y="3676"/>
                    <a:pt x="44365" y="646"/>
                    <a:pt x="41117" y="1276"/>
                  </a:cubicBezTo>
                  <a:cubicBezTo>
                    <a:pt x="37879" y="1904"/>
                    <a:pt x="34373" y="5954"/>
                    <a:pt x="33297" y="10320"/>
                  </a:cubicBezTo>
                  <a:cubicBezTo>
                    <a:pt x="32078" y="15268"/>
                    <a:pt x="30792" y="21673"/>
                    <a:pt x="29839" y="26724"/>
                  </a:cubicBezTo>
                  <a:cubicBezTo>
                    <a:pt x="23762" y="30471"/>
                    <a:pt x="17914" y="33781"/>
                    <a:pt x="12790" y="36335"/>
                  </a:cubicBezTo>
                  <a:cubicBezTo>
                    <a:pt x="9380" y="38033"/>
                    <a:pt x="6427" y="42711"/>
                    <a:pt x="6189" y="46782"/>
                  </a:cubicBezTo>
                  <a:cubicBezTo>
                    <a:pt x="5960" y="50853"/>
                    <a:pt x="8532" y="52775"/>
                    <a:pt x="11942" y="51076"/>
                  </a:cubicBezTo>
                  <a:cubicBezTo>
                    <a:pt x="16590" y="48761"/>
                    <a:pt x="21762" y="45889"/>
                    <a:pt x="27153" y="42648"/>
                  </a:cubicBezTo>
                  <a:cubicBezTo>
                    <a:pt x="25972" y="50626"/>
                    <a:pt x="25163" y="57601"/>
                    <a:pt x="24677" y="63737"/>
                  </a:cubicBezTo>
                  <a:cubicBezTo>
                    <a:pt x="14657" y="75641"/>
                    <a:pt x="7675" y="87884"/>
                    <a:pt x="3741" y="98804"/>
                  </a:cubicBezTo>
                  <a:cubicBezTo>
                    <a:pt x="-1317" y="112828"/>
                    <a:pt x="-1707" y="126300"/>
                    <a:pt x="5436" y="130619"/>
                  </a:cubicBezTo>
                  <a:cubicBezTo>
                    <a:pt x="10151" y="133463"/>
                    <a:pt x="17047" y="130011"/>
                    <a:pt x="23000" y="125102"/>
                  </a:cubicBezTo>
                  <a:cubicBezTo>
                    <a:pt x="26344" y="122342"/>
                    <a:pt x="29811" y="118805"/>
                    <a:pt x="33230" y="114679"/>
                  </a:cubicBezTo>
                  <a:cubicBezTo>
                    <a:pt x="33278" y="114800"/>
                    <a:pt x="33326" y="114919"/>
                    <a:pt x="33373" y="115038"/>
                  </a:cubicBezTo>
                  <a:cubicBezTo>
                    <a:pt x="34564" y="118043"/>
                    <a:pt x="38136" y="117864"/>
                    <a:pt x="41336" y="114637"/>
                  </a:cubicBezTo>
                  <a:cubicBezTo>
                    <a:pt x="44537" y="111409"/>
                    <a:pt x="46165" y="106355"/>
                    <a:pt x="44965" y="103348"/>
                  </a:cubicBezTo>
                  <a:cubicBezTo>
                    <a:pt x="44498" y="102174"/>
                    <a:pt x="44032" y="101115"/>
                    <a:pt x="43565" y="100123"/>
                  </a:cubicBezTo>
                  <a:cubicBezTo>
                    <a:pt x="52004" y="86336"/>
                    <a:pt x="59357" y="69016"/>
                    <a:pt x="62415" y="50694"/>
                  </a:cubicBezTo>
                  <a:cubicBezTo>
                    <a:pt x="67673" y="50629"/>
                    <a:pt x="71235" y="53560"/>
                    <a:pt x="72950" y="57936"/>
                  </a:cubicBezTo>
                  <a:cubicBezTo>
                    <a:pt x="74826" y="62698"/>
                    <a:pt x="74712" y="69422"/>
                    <a:pt x="72150" y="76997"/>
                  </a:cubicBezTo>
                  <a:cubicBezTo>
                    <a:pt x="69616" y="84515"/>
                    <a:pt x="64463" y="93483"/>
                    <a:pt x="55528" y="102605"/>
                  </a:cubicBezTo>
                  <a:cubicBezTo>
                    <a:pt x="52337" y="105862"/>
                    <a:pt x="50747" y="110914"/>
                    <a:pt x="51976" y="113890"/>
                  </a:cubicBezTo>
                  <a:cubicBezTo>
                    <a:pt x="53204" y="116863"/>
                    <a:pt x="56776" y="116635"/>
                    <a:pt x="59967" y="113377"/>
                  </a:cubicBezTo>
                  <a:cubicBezTo>
                    <a:pt x="71407" y="101696"/>
                    <a:pt x="79198" y="88921"/>
                    <a:pt x="83284" y="76795"/>
                  </a:cubicBezTo>
                  <a:cubicBezTo>
                    <a:pt x="87361" y="64728"/>
                    <a:pt x="87561" y="53911"/>
                    <a:pt x="84561" y="46274"/>
                  </a:cubicBezTo>
                  <a:cubicBezTo>
                    <a:pt x="81151" y="37614"/>
                    <a:pt x="73826" y="33320"/>
                    <a:pt x="63901" y="35116"/>
                  </a:cubicBezTo>
                  <a:cubicBezTo>
                    <a:pt x="63910" y="34407"/>
                    <a:pt x="63920" y="33699"/>
                    <a:pt x="63920" y="32990"/>
                  </a:cubicBezTo>
                  <a:cubicBezTo>
                    <a:pt x="63920" y="29045"/>
                    <a:pt x="61148" y="27445"/>
                    <a:pt x="57738" y="29418"/>
                  </a:cubicBezTo>
                  <a:cubicBezTo>
                    <a:pt x="54395" y="31349"/>
                    <a:pt x="51671" y="35984"/>
                    <a:pt x="51556" y="39878"/>
                  </a:cubicBezTo>
                  <a:cubicBezTo>
                    <a:pt x="47223" y="42339"/>
                    <a:pt x="42603" y="45720"/>
                    <a:pt x="37755" y="50107"/>
                  </a:cubicBezTo>
                  <a:cubicBezTo>
                    <a:pt x="38279" y="45467"/>
                    <a:pt x="38974" y="40319"/>
                    <a:pt x="39879" y="34595"/>
                  </a:cubicBezTo>
                  <a:cubicBezTo>
                    <a:pt x="49651" y="28104"/>
                    <a:pt x="59376" y="20933"/>
                    <a:pt x="67397" y="14125"/>
                  </a:cubicBezTo>
                  <a:cubicBezTo>
                    <a:pt x="70721" y="11302"/>
                    <a:pt x="72788" y="6266"/>
                    <a:pt x="72007" y="2876"/>
                  </a:cubicBezTo>
                  <a:cubicBezTo>
                    <a:pt x="71226" y="-513"/>
                    <a:pt x="67892" y="-973"/>
                    <a:pt x="64568" y="1850"/>
                  </a:cubicBezTo>
                  <a:cubicBezTo>
                    <a:pt x="58233" y="7226"/>
                    <a:pt x="50633" y="12925"/>
                    <a:pt x="42803" y="18281"/>
                  </a:cubicBezTo>
                  <a:cubicBezTo>
                    <a:pt x="43517" y="14731"/>
                    <a:pt x="44308" y="11031"/>
                    <a:pt x="45041" y="8041"/>
                  </a:cubicBezTo>
                  <a:close/>
                  <a:moveTo>
                    <a:pt x="14695" y="99133"/>
                  </a:moveTo>
                  <a:cubicBezTo>
                    <a:pt x="16562" y="93957"/>
                    <a:pt x="19638" y="87833"/>
                    <a:pt x="24144" y="81295"/>
                  </a:cubicBezTo>
                  <a:cubicBezTo>
                    <a:pt x="24286" y="85891"/>
                    <a:pt x="24686" y="89796"/>
                    <a:pt x="25267" y="93189"/>
                  </a:cubicBezTo>
                  <a:cubicBezTo>
                    <a:pt x="26049" y="97680"/>
                    <a:pt x="27220" y="101340"/>
                    <a:pt x="28458" y="104421"/>
                  </a:cubicBezTo>
                  <a:cubicBezTo>
                    <a:pt x="25934" y="107506"/>
                    <a:pt x="23248" y="110284"/>
                    <a:pt x="20400" y="112632"/>
                  </a:cubicBezTo>
                  <a:cubicBezTo>
                    <a:pt x="16400" y="115933"/>
                    <a:pt x="14733" y="115796"/>
                    <a:pt x="14276" y="115521"/>
                  </a:cubicBezTo>
                  <a:cubicBezTo>
                    <a:pt x="12304" y="114330"/>
                    <a:pt x="11028" y="109278"/>
                    <a:pt x="14695" y="99133"/>
                  </a:cubicBezTo>
                  <a:close/>
                  <a:moveTo>
                    <a:pt x="50280" y="54893"/>
                  </a:moveTo>
                  <a:cubicBezTo>
                    <a:pt x="48556" y="65096"/>
                    <a:pt x="44498" y="77489"/>
                    <a:pt x="38612" y="88754"/>
                  </a:cubicBezTo>
                  <a:cubicBezTo>
                    <a:pt x="38183" y="87256"/>
                    <a:pt x="37783" y="85571"/>
                    <a:pt x="37440" y="83604"/>
                  </a:cubicBezTo>
                  <a:cubicBezTo>
                    <a:pt x="36707" y="79364"/>
                    <a:pt x="36288" y="73869"/>
                    <a:pt x="36526" y="66362"/>
                  </a:cubicBezTo>
                  <a:cubicBezTo>
                    <a:pt x="37421" y="65440"/>
                    <a:pt x="38355" y="64517"/>
                    <a:pt x="39317" y="63596"/>
                  </a:cubicBezTo>
                  <a:cubicBezTo>
                    <a:pt x="43289" y="59789"/>
                    <a:pt x="46946" y="56936"/>
                    <a:pt x="50280" y="54893"/>
                  </a:cubicBezTo>
                  <a:close/>
                </a:path>
              </a:pathLst>
            </a:custGeom>
            <a:solidFill>
              <a:srgbClr val="C7E0F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oup 127">
            <a:extLst>
              <a:ext uri="{FF2B5EF4-FFF2-40B4-BE49-F238E27FC236}">
                <a16:creationId xmlns:a16="http://schemas.microsoft.com/office/drawing/2014/main" id="{F1B2FB48-C714-BCDC-F88B-5E557B9732DE}"/>
              </a:ext>
            </a:extLst>
          </p:cNvPr>
          <p:cNvGrpSpPr/>
          <p:nvPr/>
        </p:nvGrpSpPr>
        <p:grpSpPr>
          <a:xfrm>
            <a:off x="7756509" y="1541920"/>
            <a:ext cx="320297" cy="310377"/>
            <a:chOff x="10079247" y="703060"/>
            <a:chExt cx="1220876" cy="1052401"/>
          </a:xfrm>
        </p:grpSpPr>
        <p:sp>
          <p:nvSpPr>
            <p:cNvPr id="112" name="Freeform: Shape 111">
              <a:extLst>
                <a:ext uri="{FF2B5EF4-FFF2-40B4-BE49-F238E27FC236}">
                  <a16:creationId xmlns:a16="http://schemas.microsoft.com/office/drawing/2014/main" id="{9FC65F74-3DCC-C0D8-B344-94B6B04FCD77}"/>
                </a:ext>
              </a:extLst>
            </p:cNvPr>
            <p:cNvSpPr/>
            <p:nvPr/>
          </p:nvSpPr>
          <p:spPr>
            <a:xfrm>
              <a:off x="10622172" y="1161022"/>
              <a:ext cx="677942" cy="240691"/>
            </a:xfrm>
            <a:custGeom>
              <a:avLst/>
              <a:gdLst>
                <a:gd name="connsiteX0" fmla="*/ 677942 w 677942"/>
                <a:gd name="connsiteY0" fmla="*/ 1979 h 240691"/>
                <a:gd name="connsiteX1" fmla="*/ 677819 w 677942"/>
                <a:gd name="connsiteY1" fmla="*/ 46235 h 240691"/>
                <a:gd name="connsiteX2" fmla="*/ 579330 w 677942"/>
                <a:gd name="connsiteY2" fmla="*/ 183479 h 240691"/>
                <a:gd name="connsiteX3" fmla="*/ 100061 w 677942"/>
                <a:gd name="connsiteY3" fmla="*/ 183441 h 240691"/>
                <a:gd name="connsiteX4" fmla="*/ 0 w 677942"/>
                <a:gd name="connsiteY4" fmla="*/ 44255 h 240691"/>
                <a:gd name="connsiteX5" fmla="*/ 124 w 677942"/>
                <a:gd name="connsiteY5" fmla="*/ 0 h 240691"/>
                <a:gd name="connsiteX6" fmla="*/ 100194 w 677942"/>
                <a:gd name="connsiteY6" fmla="*/ 139185 h 240691"/>
                <a:gd name="connsiteX7" fmla="*/ 579454 w 677942"/>
                <a:gd name="connsiteY7" fmla="*/ 139223 h 240691"/>
                <a:gd name="connsiteX8" fmla="*/ 677942 w 677942"/>
                <a:gd name="connsiteY8" fmla="*/ 1979 h 24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942" h="240691">
                  <a:moveTo>
                    <a:pt x="677942" y="1979"/>
                  </a:moveTo>
                  <a:lnTo>
                    <a:pt x="677819" y="46235"/>
                  </a:lnTo>
                  <a:cubicBezTo>
                    <a:pt x="677676" y="95935"/>
                    <a:pt x="644872" y="145560"/>
                    <a:pt x="579330" y="183479"/>
                  </a:cubicBezTo>
                  <a:cubicBezTo>
                    <a:pt x="447466" y="259768"/>
                    <a:pt x="232858" y="259769"/>
                    <a:pt x="100061" y="183441"/>
                  </a:cubicBezTo>
                  <a:cubicBezTo>
                    <a:pt x="33233" y="145027"/>
                    <a:pt x="-142" y="94599"/>
                    <a:pt x="0" y="44255"/>
                  </a:cubicBezTo>
                  <a:lnTo>
                    <a:pt x="124" y="0"/>
                  </a:lnTo>
                  <a:cubicBezTo>
                    <a:pt x="-19" y="50343"/>
                    <a:pt x="33357" y="100770"/>
                    <a:pt x="100194" y="139185"/>
                  </a:cubicBezTo>
                  <a:cubicBezTo>
                    <a:pt x="232982" y="215513"/>
                    <a:pt x="447590" y="215512"/>
                    <a:pt x="579454" y="139223"/>
                  </a:cubicBezTo>
                  <a:cubicBezTo>
                    <a:pt x="644995" y="101304"/>
                    <a:pt x="677809" y="51680"/>
                    <a:pt x="677942" y="1979"/>
                  </a:cubicBezTo>
                  <a:close/>
                </a:path>
              </a:pathLst>
            </a:custGeom>
            <a:solidFill>
              <a:srgbClr val="C8C8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DBD84498-9C29-AE4A-90F0-7A4B164FE967}"/>
                </a:ext>
              </a:extLst>
            </p:cNvPr>
            <p:cNvSpPr/>
            <p:nvPr/>
          </p:nvSpPr>
          <p:spPr>
            <a:xfrm>
              <a:off x="10622178" y="976491"/>
              <a:ext cx="677945" cy="393128"/>
            </a:xfrm>
            <a:custGeom>
              <a:avLst/>
              <a:gdLst>
                <a:gd name="connsiteX0" fmla="*/ 577867 w 677945"/>
                <a:gd name="connsiteY0" fmla="*/ 57576 h 393128"/>
                <a:gd name="connsiteX1" fmla="*/ 579439 w 677945"/>
                <a:gd name="connsiteY1" fmla="*/ 335586 h 393128"/>
                <a:gd name="connsiteX2" fmla="*/ 100083 w 677945"/>
                <a:gd name="connsiteY2" fmla="*/ 335548 h 393128"/>
                <a:gd name="connsiteX3" fmla="*/ 98445 w 677945"/>
                <a:gd name="connsiteY3" fmla="*/ 57579 h 393128"/>
                <a:gd name="connsiteX4" fmla="*/ 577867 w 677945"/>
                <a:gd name="connsiteY4" fmla="*/ 57576 h 393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945" h="393128">
                  <a:moveTo>
                    <a:pt x="577867" y="57576"/>
                  </a:moveTo>
                  <a:cubicBezTo>
                    <a:pt x="710693" y="134343"/>
                    <a:pt x="711388" y="258816"/>
                    <a:pt x="579439" y="335586"/>
                  </a:cubicBezTo>
                  <a:cubicBezTo>
                    <a:pt x="447546" y="412315"/>
                    <a:pt x="232900" y="412316"/>
                    <a:pt x="100083" y="335548"/>
                  </a:cubicBezTo>
                  <a:cubicBezTo>
                    <a:pt x="-32733" y="258780"/>
                    <a:pt x="-33438" y="134306"/>
                    <a:pt x="98445" y="57579"/>
                  </a:cubicBezTo>
                  <a:cubicBezTo>
                    <a:pt x="230405" y="-19192"/>
                    <a:pt x="445051" y="-19193"/>
                    <a:pt x="577867" y="57576"/>
                  </a:cubicBez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2C9AEB9F-2543-D83F-92AA-61132822C7BF}"/>
                </a:ext>
              </a:extLst>
            </p:cNvPr>
            <p:cNvSpPr/>
            <p:nvPr/>
          </p:nvSpPr>
          <p:spPr>
            <a:xfrm>
              <a:off x="11062713" y="842678"/>
              <a:ext cx="87401" cy="395103"/>
            </a:xfrm>
            <a:custGeom>
              <a:avLst/>
              <a:gdLst>
                <a:gd name="connsiteX0" fmla="*/ 87401 w 87401"/>
                <a:gd name="connsiteY0" fmla="*/ 255359 h 395103"/>
                <a:gd name="connsiteX1" fmla="*/ 57883 w 87401"/>
                <a:gd name="connsiteY1" fmla="*/ 284620 h 395103"/>
                <a:gd name="connsiteX2" fmla="*/ 57883 w 87401"/>
                <a:gd name="connsiteY2" fmla="*/ 350152 h 395103"/>
                <a:gd name="connsiteX3" fmla="*/ 0 w 87401"/>
                <a:gd name="connsiteY3" fmla="*/ 384448 h 395103"/>
                <a:gd name="connsiteX4" fmla="*/ 0 w 87401"/>
                <a:gd name="connsiteY4" fmla="*/ 356928 h 395103"/>
                <a:gd name="connsiteX5" fmla="*/ 23365 w 87401"/>
                <a:gd name="connsiteY5" fmla="*/ 359499 h 395103"/>
                <a:gd name="connsiteX6" fmla="*/ 30270 w 87401"/>
                <a:gd name="connsiteY6" fmla="*/ 328973 h 395103"/>
                <a:gd name="connsiteX7" fmla="*/ 30270 w 87401"/>
                <a:gd name="connsiteY7" fmla="*/ 265845 h 395103"/>
                <a:gd name="connsiteX8" fmla="*/ 58455 w 87401"/>
                <a:gd name="connsiteY8" fmla="*/ 226196 h 395103"/>
                <a:gd name="connsiteX9" fmla="*/ 58455 w 87401"/>
                <a:gd name="connsiteY9" fmla="*/ 225322 h 395103"/>
                <a:gd name="connsiteX10" fmla="*/ 36614 w 87401"/>
                <a:gd name="connsiteY10" fmla="*/ 192016 h 395103"/>
                <a:gd name="connsiteX11" fmla="*/ 30270 w 87401"/>
                <a:gd name="connsiteY11" fmla="*/ 152694 h 395103"/>
                <a:gd name="connsiteX12" fmla="*/ 30270 w 87401"/>
                <a:gd name="connsiteY12" fmla="*/ 88692 h 395103"/>
                <a:gd name="connsiteX13" fmla="*/ 0 w 87401"/>
                <a:gd name="connsiteY13" fmla="*/ 27959 h 395103"/>
                <a:gd name="connsiteX14" fmla="*/ 0 w 87401"/>
                <a:gd name="connsiteY14" fmla="*/ 0 h 395103"/>
                <a:gd name="connsiteX15" fmla="*/ 43472 w 87401"/>
                <a:gd name="connsiteY15" fmla="*/ 42760 h 395103"/>
                <a:gd name="connsiteX16" fmla="*/ 57883 w 87401"/>
                <a:gd name="connsiteY16" fmla="*/ 102014 h 395103"/>
                <a:gd name="connsiteX17" fmla="*/ 57883 w 87401"/>
                <a:gd name="connsiteY17" fmla="*/ 165801 h 395103"/>
                <a:gd name="connsiteX18" fmla="*/ 87401 w 87401"/>
                <a:gd name="connsiteY18" fmla="*/ 230020 h 395103"/>
                <a:gd name="connsiteX19" fmla="*/ 87401 w 87401"/>
                <a:gd name="connsiteY19" fmla="*/ 255359 h 39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01" h="395103">
                  <a:moveTo>
                    <a:pt x="87401" y="255359"/>
                  </a:moveTo>
                  <a:cubicBezTo>
                    <a:pt x="67723" y="245454"/>
                    <a:pt x="57883" y="255207"/>
                    <a:pt x="57883" y="284620"/>
                  </a:cubicBezTo>
                  <a:lnTo>
                    <a:pt x="57883" y="350152"/>
                  </a:lnTo>
                  <a:cubicBezTo>
                    <a:pt x="57883" y="394710"/>
                    <a:pt x="38586" y="406142"/>
                    <a:pt x="0" y="384448"/>
                  </a:cubicBezTo>
                  <a:lnTo>
                    <a:pt x="0" y="356928"/>
                  </a:lnTo>
                  <a:cubicBezTo>
                    <a:pt x="10973" y="362972"/>
                    <a:pt x="18764" y="363829"/>
                    <a:pt x="23365" y="359499"/>
                  </a:cubicBezTo>
                  <a:cubicBezTo>
                    <a:pt x="27965" y="355169"/>
                    <a:pt x="30270" y="344994"/>
                    <a:pt x="30270" y="328973"/>
                  </a:cubicBezTo>
                  <a:lnTo>
                    <a:pt x="30270" y="265845"/>
                  </a:lnTo>
                  <a:cubicBezTo>
                    <a:pt x="30270" y="235116"/>
                    <a:pt x="39662" y="221899"/>
                    <a:pt x="58455" y="226196"/>
                  </a:cubicBezTo>
                  <a:lnTo>
                    <a:pt x="58455" y="225322"/>
                  </a:lnTo>
                  <a:cubicBezTo>
                    <a:pt x="48911" y="215881"/>
                    <a:pt x="41462" y="204532"/>
                    <a:pt x="36614" y="192016"/>
                  </a:cubicBezTo>
                  <a:cubicBezTo>
                    <a:pt x="31756" y="179501"/>
                    <a:pt x="29594" y="166102"/>
                    <a:pt x="30270" y="152694"/>
                  </a:cubicBezTo>
                  <a:lnTo>
                    <a:pt x="30270" y="88692"/>
                  </a:lnTo>
                  <a:cubicBezTo>
                    <a:pt x="30270" y="60441"/>
                    <a:pt x="20183" y="40196"/>
                    <a:pt x="0" y="27959"/>
                  </a:cubicBezTo>
                  <a:lnTo>
                    <a:pt x="0" y="0"/>
                  </a:lnTo>
                  <a:cubicBezTo>
                    <a:pt x="18193" y="9926"/>
                    <a:pt x="33252" y="24735"/>
                    <a:pt x="43472" y="42760"/>
                  </a:cubicBezTo>
                  <a:cubicBezTo>
                    <a:pt x="53702" y="60784"/>
                    <a:pt x="58693" y="81305"/>
                    <a:pt x="57883" y="102014"/>
                  </a:cubicBezTo>
                  <a:lnTo>
                    <a:pt x="57883" y="165801"/>
                  </a:lnTo>
                  <a:cubicBezTo>
                    <a:pt x="57883" y="195796"/>
                    <a:pt x="67723" y="217202"/>
                    <a:pt x="87401" y="230020"/>
                  </a:cubicBezTo>
                  <a:lnTo>
                    <a:pt x="87401" y="255359"/>
                  </a:ln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41DA8CBA-1792-DCAD-1C42-E9A8B255307D}"/>
                </a:ext>
              </a:extLst>
            </p:cNvPr>
            <p:cNvSpPr/>
            <p:nvPr/>
          </p:nvSpPr>
          <p:spPr>
            <a:xfrm>
              <a:off x="10745855" y="703060"/>
              <a:ext cx="87582" cy="395081"/>
            </a:xfrm>
            <a:custGeom>
              <a:avLst/>
              <a:gdLst>
                <a:gd name="connsiteX0" fmla="*/ 87582 w 87582"/>
                <a:gd name="connsiteY0" fmla="*/ 395082 h 395081"/>
                <a:gd name="connsiteX1" fmla="*/ 44120 w 87582"/>
                <a:gd name="connsiteY1" fmla="*/ 352732 h 395081"/>
                <a:gd name="connsiteX2" fmla="*/ 29499 w 87582"/>
                <a:gd name="connsiteY2" fmla="*/ 293831 h 395081"/>
                <a:gd name="connsiteX3" fmla="*/ 29499 w 87582"/>
                <a:gd name="connsiteY3" fmla="*/ 228299 h 395081"/>
                <a:gd name="connsiteX4" fmla="*/ 0 w 87582"/>
                <a:gd name="connsiteY4" fmla="*/ 164960 h 395081"/>
                <a:gd name="connsiteX5" fmla="*/ 0 w 87582"/>
                <a:gd name="connsiteY5" fmla="*/ 139617 h 395081"/>
                <a:gd name="connsiteX6" fmla="*/ 29499 w 87582"/>
                <a:gd name="connsiteY6" fmla="*/ 109466 h 395081"/>
                <a:gd name="connsiteX7" fmla="*/ 29499 w 87582"/>
                <a:gd name="connsiteY7" fmla="*/ 45682 h 395081"/>
                <a:gd name="connsiteX8" fmla="*/ 87582 w 87582"/>
                <a:gd name="connsiteY8" fmla="*/ 10629 h 395081"/>
                <a:gd name="connsiteX9" fmla="*/ 87582 w 87582"/>
                <a:gd name="connsiteY9" fmla="*/ 38588 h 395081"/>
                <a:gd name="connsiteX10" fmla="*/ 57502 w 87582"/>
                <a:gd name="connsiteY10" fmla="*/ 64469 h 395081"/>
                <a:gd name="connsiteX11" fmla="*/ 57502 w 87582"/>
                <a:gd name="connsiteY11" fmla="*/ 128476 h 395081"/>
                <a:gd name="connsiteX12" fmla="*/ 29127 w 87582"/>
                <a:gd name="connsiteY12" fmla="*/ 168449 h 395081"/>
                <a:gd name="connsiteX13" fmla="*/ 29127 w 87582"/>
                <a:gd name="connsiteY13" fmla="*/ 169323 h 395081"/>
                <a:gd name="connsiteX14" fmla="*/ 51168 w 87582"/>
                <a:gd name="connsiteY14" fmla="*/ 202390 h 395081"/>
                <a:gd name="connsiteX15" fmla="*/ 57493 w 87582"/>
                <a:gd name="connsiteY15" fmla="*/ 241626 h 395081"/>
                <a:gd name="connsiteX16" fmla="*/ 57493 w 87582"/>
                <a:gd name="connsiteY16" fmla="*/ 304754 h 395081"/>
                <a:gd name="connsiteX17" fmla="*/ 64208 w 87582"/>
                <a:gd name="connsiteY17" fmla="*/ 343250 h 395081"/>
                <a:gd name="connsiteX18" fmla="*/ 87582 w 87582"/>
                <a:gd name="connsiteY18" fmla="*/ 367558 h 395081"/>
                <a:gd name="connsiteX19" fmla="*/ 87582 w 87582"/>
                <a:gd name="connsiteY19" fmla="*/ 395082 h 39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582" h="395081">
                  <a:moveTo>
                    <a:pt x="87582" y="395082"/>
                  </a:moveTo>
                  <a:cubicBezTo>
                    <a:pt x="69437" y="385288"/>
                    <a:pt x="54378" y="370621"/>
                    <a:pt x="44120" y="352732"/>
                  </a:cubicBezTo>
                  <a:cubicBezTo>
                    <a:pt x="33852" y="334842"/>
                    <a:pt x="28794" y="314442"/>
                    <a:pt x="29499" y="293831"/>
                  </a:cubicBezTo>
                  <a:lnTo>
                    <a:pt x="29499" y="228299"/>
                  </a:lnTo>
                  <a:cubicBezTo>
                    <a:pt x="29499" y="198881"/>
                    <a:pt x="19669" y="177767"/>
                    <a:pt x="0" y="164960"/>
                  </a:cubicBezTo>
                  <a:lnTo>
                    <a:pt x="0" y="139617"/>
                  </a:lnTo>
                  <a:cubicBezTo>
                    <a:pt x="19669" y="149521"/>
                    <a:pt x="29499" y="139471"/>
                    <a:pt x="29499" y="109466"/>
                  </a:cubicBezTo>
                  <a:lnTo>
                    <a:pt x="29499" y="45682"/>
                  </a:lnTo>
                  <a:cubicBezTo>
                    <a:pt x="29499" y="537"/>
                    <a:pt x="48863" y="-11147"/>
                    <a:pt x="87582" y="10629"/>
                  </a:cubicBezTo>
                  <a:lnTo>
                    <a:pt x="87582" y="38588"/>
                  </a:lnTo>
                  <a:cubicBezTo>
                    <a:pt x="67532" y="27592"/>
                    <a:pt x="57502" y="36220"/>
                    <a:pt x="57502" y="64469"/>
                  </a:cubicBezTo>
                  <a:lnTo>
                    <a:pt x="57502" y="128476"/>
                  </a:lnTo>
                  <a:cubicBezTo>
                    <a:pt x="57502" y="159056"/>
                    <a:pt x="48044" y="172381"/>
                    <a:pt x="29127" y="168449"/>
                  </a:cubicBezTo>
                  <a:lnTo>
                    <a:pt x="29127" y="169323"/>
                  </a:lnTo>
                  <a:cubicBezTo>
                    <a:pt x="38757" y="178639"/>
                    <a:pt x="46272" y="189916"/>
                    <a:pt x="51168" y="202390"/>
                  </a:cubicBezTo>
                  <a:cubicBezTo>
                    <a:pt x="56064" y="214864"/>
                    <a:pt x="58226" y="228245"/>
                    <a:pt x="57493" y="241626"/>
                  </a:cubicBezTo>
                  <a:lnTo>
                    <a:pt x="57493" y="304754"/>
                  </a:lnTo>
                  <a:cubicBezTo>
                    <a:pt x="56940" y="317920"/>
                    <a:pt x="59226" y="331050"/>
                    <a:pt x="64208" y="343250"/>
                  </a:cubicBezTo>
                  <a:cubicBezTo>
                    <a:pt x="69399" y="353505"/>
                    <a:pt x="77543" y="361972"/>
                    <a:pt x="87582" y="367558"/>
                  </a:cubicBezTo>
                  <a:lnTo>
                    <a:pt x="87582" y="395082"/>
                  </a:ln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9BB54D6C-AF71-258A-2BDE-927BC78403B2}"/>
                </a:ext>
              </a:extLst>
            </p:cNvPr>
            <p:cNvSpPr/>
            <p:nvPr/>
          </p:nvSpPr>
          <p:spPr>
            <a:xfrm>
              <a:off x="10847643" y="796544"/>
              <a:ext cx="215869" cy="333376"/>
            </a:xfrm>
            <a:custGeom>
              <a:avLst/>
              <a:gdLst>
                <a:gd name="connsiteX0" fmla="*/ 209956 w 215869"/>
                <a:gd name="connsiteY0" fmla="*/ 237016 h 333376"/>
                <a:gd name="connsiteX1" fmla="*/ 207098 w 215869"/>
                <a:gd name="connsiteY1" fmla="*/ 308747 h 333376"/>
                <a:gd name="connsiteX2" fmla="*/ 152863 w 215869"/>
                <a:gd name="connsiteY2" fmla="*/ 332468 h 333376"/>
                <a:gd name="connsiteX3" fmla="*/ 145224 w 215869"/>
                <a:gd name="connsiteY3" fmla="*/ 330493 h 333376"/>
                <a:gd name="connsiteX4" fmla="*/ 133679 w 215869"/>
                <a:gd name="connsiteY4" fmla="*/ 314919 h 333376"/>
                <a:gd name="connsiteX5" fmla="*/ 140499 w 215869"/>
                <a:gd name="connsiteY5" fmla="*/ 300063 h 333376"/>
                <a:gd name="connsiteX6" fmla="*/ 143728 w 215869"/>
                <a:gd name="connsiteY6" fmla="*/ 300439 h 333376"/>
                <a:gd name="connsiteX7" fmla="*/ 185619 w 215869"/>
                <a:gd name="connsiteY7" fmla="*/ 281667 h 333376"/>
                <a:gd name="connsiteX8" fmla="*/ 186743 w 215869"/>
                <a:gd name="connsiteY8" fmla="*/ 234272 h 333376"/>
                <a:gd name="connsiteX9" fmla="*/ 154825 w 215869"/>
                <a:gd name="connsiteY9" fmla="*/ 178535 h 333376"/>
                <a:gd name="connsiteX10" fmla="*/ 131022 w 215869"/>
                <a:gd name="connsiteY10" fmla="*/ 236443 h 333376"/>
                <a:gd name="connsiteX11" fmla="*/ 106676 w 215869"/>
                <a:gd name="connsiteY11" fmla="*/ 254794 h 333376"/>
                <a:gd name="connsiteX12" fmla="*/ 111438 w 215869"/>
                <a:gd name="connsiteY12" fmla="*/ 269942 h 333376"/>
                <a:gd name="connsiteX13" fmla="*/ 100780 w 215869"/>
                <a:gd name="connsiteY13" fmla="*/ 285802 h 333376"/>
                <a:gd name="connsiteX14" fmla="*/ 90198 w 215869"/>
                <a:gd name="connsiteY14" fmla="*/ 272898 h 333376"/>
                <a:gd name="connsiteX15" fmla="*/ 86140 w 215869"/>
                <a:gd name="connsiteY15" fmla="*/ 261324 h 333376"/>
                <a:gd name="connsiteX16" fmla="*/ 44763 w 215869"/>
                <a:gd name="connsiteY16" fmla="*/ 250957 h 333376"/>
                <a:gd name="connsiteX17" fmla="*/ 4244 w 215869"/>
                <a:gd name="connsiteY17" fmla="*/ 201688 h 333376"/>
                <a:gd name="connsiteX18" fmla="*/ 20303 w 215869"/>
                <a:gd name="connsiteY18" fmla="*/ 125744 h 333376"/>
                <a:gd name="connsiteX19" fmla="*/ 64061 w 215869"/>
                <a:gd name="connsiteY19" fmla="*/ 108868 h 333376"/>
                <a:gd name="connsiteX20" fmla="*/ 70643 w 215869"/>
                <a:gd name="connsiteY20" fmla="*/ 64227 h 333376"/>
                <a:gd name="connsiteX21" fmla="*/ 30295 w 215869"/>
                <a:gd name="connsiteY21" fmla="*/ 38455 h 333376"/>
                <a:gd name="connsiteX22" fmla="*/ 22075 w 215869"/>
                <a:gd name="connsiteY22" fmla="*/ 28645 h 333376"/>
                <a:gd name="connsiteX23" fmla="*/ 19284 w 215869"/>
                <a:gd name="connsiteY23" fmla="*/ 16154 h 333376"/>
                <a:gd name="connsiteX24" fmla="*/ 33181 w 215869"/>
                <a:gd name="connsiteY24" fmla="*/ 11520 h 333376"/>
                <a:gd name="connsiteX25" fmla="*/ 76767 w 215869"/>
                <a:gd name="connsiteY25" fmla="*/ 38954 h 333376"/>
                <a:gd name="connsiteX26" fmla="*/ 87559 w 215869"/>
                <a:gd name="connsiteY26" fmla="*/ 4535 h 333376"/>
                <a:gd name="connsiteX27" fmla="*/ 99389 w 215869"/>
                <a:gd name="connsiteY27" fmla="*/ 1730 h 333376"/>
                <a:gd name="connsiteX28" fmla="*/ 111134 w 215869"/>
                <a:gd name="connsiteY28" fmla="*/ 27655 h 333376"/>
                <a:gd name="connsiteX29" fmla="*/ 103028 w 215869"/>
                <a:gd name="connsiteY29" fmla="*/ 53030 h 333376"/>
                <a:gd name="connsiteX30" fmla="*/ 162988 w 215869"/>
                <a:gd name="connsiteY30" fmla="*/ 74124 h 333376"/>
                <a:gd name="connsiteX31" fmla="*/ 179123 w 215869"/>
                <a:gd name="connsiteY31" fmla="*/ 91684 h 333376"/>
                <a:gd name="connsiteX32" fmla="*/ 171941 w 215869"/>
                <a:gd name="connsiteY32" fmla="*/ 106175 h 333376"/>
                <a:gd name="connsiteX33" fmla="*/ 96389 w 215869"/>
                <a:gd name="connsiteY33" fmla="*/ 78550 h 333376"/>
                <a:gd name="connsiteX34" fmla="*/ 90341 w 215869"/>
                <a:gd name="connsiteY34" fmla="*/ 111914 h 333376"/>
                <a:gd name="connsiteX35" fmla="*/ 133117 w 215869"/>
                <a:gd name="connsiteY35" fmla="*/ 131993 h 333376"/>
                <a:gd name="connsiteX36" fmla="*/ 133232 w 215869"/>
                <a:gd name="connsiteY36" fmla="*/ 129502 h 333376"/>
                <a:gd name="connsiteX37" fmla="*/ 145928 w 215869"/>
                <a:gd name="connsiteY37" fmla="*/ 122809 h 333376"/>
                <a:gd name="connsiteX38" fmla="*/ 154815 w 215869"/>
                <a:gd name="connsiteY38" fmla="*/ 132214 h 333376"/>
                <a:gd name="connsiteX39" fmla="*/ 158263 w 215869"/>
                <a:gd name="connsiteY39" fmla="*/ 144689 h 333376"/>
                <a:gd name="connsiteX40" fmla="*/ 157930 w 215869"/>
                <a:gd name="connsiteY40" fmla="*/ 151337 h 333376"/>
                <a:gd name="connsiteX41" fmla="*/ 159178 w 215869"/>
                <a:gd name="connsiteY41" fmla="*/ 152459 h 333376"/>
                <a:gd name="connsiteX42" fmla="*/ 209956 w 215869"/>
                <a:gd name="connsiteY42" fmla="*/ 237016 h 333376"/>
                <a:gd name="connsiteX43" fmla="*/ 45906 w 215869"/>
                <a:gd name="connsiteY43" fmla="*/ 222211 h 333376"/>
                <a:gd name="connsiteX44" fmla="*/ 61032 w 215869"/>
                <a:gd name="connsiteY44" fmla="*/ 228595 h 333376"/>
                <a:gd name="connsiteX45" fmla="*/ 77453 w 215869"/>
                <a:gd name="connsiteY45" fmla="*/ 228534 h 333376"/>
                <a:gd name="connsiteX46" fmla="*/ 64166 w 215869"/>
                <a:gd name="connsiteY46" fmla="*/ 142579 h 333376"/>
                <a:gd name="connsiteX47" fmla="*/ 39591 w 215869"/>
                <a:gd name="connsiteY47" fmla="*/ 155146 h 333376"/>
                <a:gd name="connsiteX48" fmla="*/ 29257 w 215869"/>
                <a:gd name="connsiteY48" fmla="*/ 199046 h 333376"/>
                <a:gd name="connsiteX49" fmla="*/ 45906 w 215869"/>
                <a:gd name="connsiteY49" fmla="*/ 222211 h 333376"/>
                <a:gd name="connsiteX50" fmla="*/ 112505 w 215869"/>
                <a:gd name="connsiteY50" fmla="*/ 209599 h 333376"/>
                <a:gd name="connsiteX51" fmla="*/ 130241 w 215869"/>
                <a:gd name="connsiteY51" fmla="*/ 158961 h 333376"/>
                <a:gd name="connsiteX52" fmla="*/ 88531 w 215869"/>
                <a:gd name="connsiteY52" fmla="*/ 141569 h 333376"/>
                <a:gd name="connsiteX53" fmla="*/ 98627 w 215869"/>
                <a:gd name="connsiteY53" fmla="*/ 221913 h 333376"/>
                <a:gd name="connsiteX54" fmla="*/ 112505 w 215869"/>
                <a:gd name="connsiteY54" fmla="*/ 209599 h 33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5869" h="333376">
                  <a:moveTo>
                    <a:pt x="209956" y="237016"/>
                  </a:moveTo>
                  <a:cubicBezTo>
                    <a:pt x="218747" y="267546"/>
                    <a:pt x="217690" y="294368"/>
                    <a:pt x="207098" y="308747"/>
                  </a:cubicBezTo>
                  <a:cubicBezTo>
                    <a:pt x="186610" y="336574"/>
                    <a:pt x="166312" y="334128"/>
                    <a:pt x="152863" y="332468"/>
                  </a:cubicBezTo>
                  <a:cubicBezTo>
                    <a:pt x="150186" y="332472"/>
                    <a:pt x="147557" y="331792"/>
                    <a:pt x="145224" y="330493"/>
                  </a:cubicBezTo>
                  <a:cubicBezTo>
                    <a:pt x="139613" y="326875"/>
                    <a:pt x="135508" y="321339"/>
                    <a:pt x="133679" y="314919"/>
                  </a:cubicBezTo>
                  <a:cubicBezTo>
                    <a:pt x="131050" y="306021"/>
                    <a:pt x="134117" y="299384"/>
                    <a:pt x="140499" y="300063"/>
                  </a:cubicBezTo>
                  <a:cubicBezTo>
                    <a:pt x="141537" y="300164"/>
                    <a:pt x="142614" y="300293"/>
                    <a:pt x="143728" y="300439"/>
                  </a:cubicBezTo>
                  <a:cubicBezTo>
                    <a:pt x="155206" y="301830"/>
                    <a:pt x="169531" y="303581"/>
                    <a:pt x="185619" y="281667"/>
                  </a:cubicBezTo>
                  <a:cubicBezTo>
                    <a:pt x="192239" y="272691"/>
                    <a:pt x="192649" y="254935"/>
                    <a:pt x="186743" y="234272"/>
                  </a:cubicBezTo>
                  <a:cubicBezTo>
                    <a:pt x="180876" y="213338"/>
                    <a:pt x="169912" y="194186"/>
                    <a:pt x="154825" y="178535"/>
                  </a:cubicBezTo>
                  <a:cubicBezTo>
                    <a:pt x="151396" y="199192"/>
                    <a:pt x="144166" y="221936"/>
                    <a:pt x="131022" y="236443"/>
                  </a:cubicBezTo>
                  <a:cubicBezTo>
                    <a:pt x="123992" y="243887"/>
                    <a:pt x="115763" y="250091"/>
                    <a:pt x="106676" y="254794"/>
                  </a:cubicBezTo>
                  <a:cubicBezTo>
                    <a:pt x="107990" y="259925"/>
                    <a:pt x="109581" y="264982"/>
                    <a:pt x="111438" y="269942"/>
                  </a:cubicBezTo>
                  <a:cubicBezTo>
                    <a:pt x="116582" y="282414"/>
                    <a:pt x="110619" y="291485"/>
                    <a:pt x="100780" y="285802"/>
                  </a:cubicBezTo>
                  <a:cubicBezTo>
                    <a:pt x="95979" y="282730"/>
                    <a:pt x="92274" y="278211"/>
                    <a:pt x="90198" y="272898"/>
                  </a:cubicBezTo>
                  <a:cubicBezTo>
                    <a:pt x="88950" y="269914"/>
                    <a:pt x="87597" y="265998"/>
                    <a:pt x="86140" y="261324"/>
                  </a:cubicBezTo>
                  <a:cubicBezTo>
                    <a:pt x="71586" y="262511"/>
                    <a:pt x="57041" y="258867"/>
                    <a:pt x="44763" y="250957"/>
                  </a:cubicBezTo>
                  <a:cubicBezTo>
                    <a:pt x="25828" y="239883"/>
                    <a:pt x="11454" y="222412"/>
                    <a:pt x="4244" y="201688"/>
                  </a:cubicBezTo>
                  <a:cubicBezTo>
                    <a:pt x="-518" y="187270"/>
                    <a:pt x="-6881" y="148016"/>
                    <a:pt x="20303" y="125744"/>
                  </a:cubicBezTo>
                  <a:cubicBezTo>
                    <a:pt x="32638" y="115464"/>
                    <a:pt x="48021" y="109534"/>
                    <a:pt x="64061" y="108868"/>
                  </a:cubicBezTo>
                  <a:cubicBezTo>
                    <a:pt x="65252" y="93857"/>
                    <a:pt x="67442" y="78942"/>
                    <a:pt x="70643" y="64227"/>
                  </a:cubicBezTo>
                  <a:cubicBezTo>
                    <a:pt x="48069" y="50954"/>
                    <a:pt x="31771" y="39498"/>
                    <a:pt x="30295" y="38455"/>
                  </a:cubicBezTo>
                  <a:cubicBezTo>
                    <a:pt x="26809" y="35889"/>
                    <a:pt x="23989" y="32525"/>
                    <a:pt x="22075" y="28645"/>
                  </a:cubicBezTo>
                  <a:cubicBezTo>
                    <a:pt x="20160" y="24764"/>
                    <a:pt x="19208" y="20481"/>
                    <a:pt x="19284" y="16154"/>
                  </a:cubicBezTo>
                  <a:cubicBezTo>
                    <a:pt x="20075" y="8905"/>
                    <a:pt x="26161" y="6583"/>
                    <a:pt x="33181" y="11520"/>
                  </a:cubicBezTo>
                  <a:cubicBezTo>
                    <a:pt x="45525" y="20059"/>
                    <a:pt x="61308" y="30078"/>
                    <a:pt x="76767" y="38954"/>
                  </a:cubicBezTo>
                  <a:cubicBezTo>
                    <a:pt x="82101" y="19397"/>
                    <a:pt x="87121" y="5764"/>
                    <a:pt x="87559" y="4535"/>
                  </a:cubicBezTo>
                  <a:cubicBezTo>
                    <a:pt x="89359" y="-368"/>
                    <a:pt x="94217" y="-1283"/>
                    <a:pt x="99389" y="1730"/>
                  </a:cubicBezTo>
                  <a:cubicBezTo>
                    <a:pt x="107971" y="6684"/>
                    <a:pt x="114010" y="19991"/>
                    <a:pt x="111134" y="27655"/>
                  </a:cubicBezTo>
                  <a:cubicBezTo>
                    <a:pt x="111067" y="27902"/>
                    <a:pt x="107381" y="37933"/>
                    <a:pt x="103028" y="53030"/>
                  </a:cubicBezTo>
                  <a:cubicBezTo>
                    <a:pt x="121821" y="63089"/>
                    <a:pt x="142042" y="70203"/>
                    <a:pt x="162988" y="74124"/>
                  </a:cubicBezTo>
                  <a:cubicBezTo>
                    <a:pt x="170074" y="75050"/>
                    <a:pt x="176923" y="83756"/>
                    <a:pt x="179123" y="91684"/>
                  </a:cubicBezTo>
                  <a:cubicBezTo>
                    <a:pt x="181609" y="100542"/>
                    <a:pt x="178399" y="107016"/>
                    <a:pt x="171941" y="106175"/>
                  </a:cubicBezTo>
                  <a:cubicBezTo>
                    <a:pt x="148700" y="103062"/>
                    <a:pt x="121106" y="91375"/>
                    <a:pt x="96389" y="78550"/>
                  </a:cubicBezTo>
                  <a:cubicBezTo>
                    <a:pt x="93989" y="89081"/>
                    <a:pt x="91807" y="100475"/>
                    <a:pt x="90341" y="111914"/>
                  </a:cubicBezTo>
                  <a:cubicBezTo>
                    <a:pt x="105628" y="116161"/>
                    <a:pt x="120087" y="122949"/>
                    <a:pt x="133117" y="131993"/>
                  </a:cubicBezTo>
                  <a:cubicBezTo>
                    <a:pt x="133232" y="130450"/>
                    <a:pt x="133232" y="129586"/>
                    <a:pt x="133232" y="129502"/>
                  </a:cubicBezTo>
                  <a:cubicBezTo>
                    <a:pt x="133365" y="121760"/>
                    <a:pt x="138937" y="118680"/>
                    <a:pt x="145928" y="122809"/>
                  </a:cubicBezTo>
                  <a:cubicBezTo>
                    <a:pt x="149615" y="125171"/>
                    <a:pt x="152663" y="128400"/>
                    <a:pt x="154815" y="132214"/>
                  </a:cubicBezTo>
                  <a:cubicBezTo>
                    <a:pt x="156968" y="136028"/>
                    <a:pt x="158159" y="140311"/>
                    <a:pt x="158263" y="144689"/>
                  </a:cubicBezTo>
                  <a:cubicBezTo>
                    <a:pt x="158263" y="145166"/>
                    <a:pt x="158159" y="147550"/>
                    <a:pt x="157930" y="151337"/>
                  </a:cubicBezTo>
                  <a:cubicBezTo>
                    <a:pt x="158359" y="151747"/>
                    <a:pt x="158759" y="152094"/>
                    <a:pt x="159178" y="152459"/>
                  </a:cubicBezTo>
                  <a:cubicBezTo>
                    <a:pt x="183781" y="175259"/>
                    <a:pt x="201393" y="204585"/>
                    <a:pt x="209956" y="237016"/>
                  </a:cubicBezTo>
                  <a:close/>
                  <a:moveTo>
                    <a:pt x="45906" y="222211"/>
                  </a:moveTo>
                  <a:cubicBezTo>
                    <a:pt x="50469" y="225337"/>
                    <a:pt x="55612" y="227509"/>
                    <a:pt x="61032" y="228595"/>
                  </a:cubicBezTo>
                  <a:cubicBezTo>
                    <a:pt x="66452" y="229682"/>
                    <a:pt x="72043" y="229660"/>
                    <a:pt x="77453" y="228534"/>
                  </a:cubicBezTo>
                  <a:cubicBezTo>
                    <a:pt x="70871" y="200258"/>
                    <a:pt x="66423" y="171525"/>
                    <a:pt x="64166" y="142579"/>
                  </a:cubicBezTo>
                  <a:cubicBezTo>
                    <a:pt x="55136" y="144867"/>
                    <a:pt x="46735" y="149163"/>
                    <a:pt x="39591" y="155146"/>
                  </a:cubicBezTo>
                  <a:cubicBezTo>
                    <a:pt x="26847" y="165581"/>
                    <a:pt x="23465" y="181514"/>
                    <a:pt x="29257" y="199046"/>
                  </a:cubicBezTo>
                  <a:cubicBezTo>
                    <a:pt x="32124" y="208382"/>
                    <a:pt x="37972" y="216519"/>
                    <a:pt x="45906" y="222211"/>
                  </a:cubicBezTo>
                  <a:close/>
                  <a:moveTo>
                    <a:pt x="112505" y="209599"/>
                  </a:moveTo>
                  <a:cubicBezTo>
                    <a:pt x="121402" y="198058"/>
                    <a:pt x="127393" y="176689"/>
                    <a:pt x="130241" y="158961"/>
                  </a:cubicBezTo>
                  <a:cubicBezTo>
                    <a:pt x="117753" y="150236"/>
                    <a:pt x="103523" y="144304"/>
                    <a:pt x="88531" y="141569"/>
                  </a:cubicBezTo>
                  <a:cubicBezTo>
                    <a:pt x="89683" y="168583"/>
                    <a:pt x="93055" y="195456"/>
                    <a:pt x="98627" y="221913"/>
                  </a:cubicBezTo>
                  <a:cubicBezTo>
                    <a:pt x="103761" y="218420"/>
                    <a:pt x="108428" y="214281"/>
                    <a:pt x="112505" y="209599"/>
                  </a:cubicBez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369D21F-A097-385D-1950-B763FE607252}"/>
                </a:ext>
              </a:extLst>
            </p:cNvPr>
            <p:cNvSpPr/>
            <p:nvPr/>
          </p:nvSpPr>
          <p:spPr>
            <a:xfrm>
              <a:off x="10304038" y="786855"/>
              <a:ext cx="433958" cy="835256"/>
            </a:xfrm>
            <a:custGeom>
              <a:avLst/>
              <a:gdLst>
                <a:gd name="connsiteX0" fmla="*/ 393572 w 433958"/>
                <a:gd name="connsiteY0" fmla="*/ 208536 h 835256"/>
                <a:gd name="connsiteX1" fmla="*/ 433958 w 433958"/>
                <a:gd name="connsiteY1" fmla="*/ 278545 h 835256"/>
                <a:gd name="connsiteX2" fmla="*/ 432434 w 433958"/>
                <a:gd name="connsiteY2" fmla="*/ 806515 h 835256"/>
                <a:gd name="connsiteX3" fmla="*/ 391763 w 433958"/>
                <a:gd name="connsiteY3" fmla="*/ 829661 h 835256"/>
                <a:gd name="connsiteX4" fmla="*/ 40386 w 433958"/>
                <a:gd name="connsiteY4" fmla="*/ 626779 h 835256"/>
                <a:gd name="connsiteX5" fmla="*/ 0 w 433958"/>
                <a:gd name="connsiteY5" fmla="*/ 556770 h 835256"/>
                <a:gd name="connsiteX6" fmla="*/ 1524 w 433958"/>
                <a:gd name="connsiteY6" fmla="*/ 28799 h 835256"/>
                <a:gd name="connsiteX7" fmla="*/ 42196 w 433958"/>
                <a:gd name="connsiteY7" fmla="*/ 5558 h 835256"/>
                <a:gd name="connsiteX8" fmla="*/ 393572 w 433958"/>
                <a:gd name="connsiteY8" fmla="*/ 208441 h 835256"/>
                <a:gd name="connsiteX9" fmla="*/ 393572 w 433958"/>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8" h="835256">
                  <a:moveTo>
                    <a:pt x="393572" y="208536"/>
                  </a:moveTo>
                  <a:cubicBezTo>
                    <a:pt x="415956" y="221490"/>
                    <a:pt x="434054" y="252827"/>
                    <a:pt x="433958" y="278545"/>
                  </a:cubicBezTo>
                  <a:lnTo>
                    <a:pt x="432434" y="806515"/>
                  </a:lnTo>
                  <a:cubicBezTo>
                    <a:pt x="432434" y="832328"/>
                    <a:pt x="414146" y="842615"/>
                    <a:pt x="391763" y="829661"/>
                  </a:cubicBezTo>
                  <a:lnTo>
                    <a:pt x="40386" y="626779"/>
                  </a:lnTo>
                  <a:cubicBezTo>
                    <a:pt x="18003" y="613825"/>
                    <a:pt x="-95" y="582583"/>
                    <a:pt x="0" y="556770"/>
                  </a:cubicBezTo>
                  <a:lnTo>
                    <a:pt x="1524" y="28799"/>
                  </a:lnTo>
                  <a:cubicBezTo>
                    <a:pt x="1524" y="3082"/>
                    <a:pt x="19812" y="-7396"/>
                    <a:pt x="42196" y="5558"/>
                  </a:cubicBezTo>
                  <a:lnTo>
                    <a:pt x="393572" y="208441"/>
                  </a:lnTo>
                  <a:lnTo>
                    <a:pt x="393572" y="208536"/>
                  </a:lnTo>
                  <a:close/>
                </a:path>
              </a:pathLst>
            </a:custGeom>
            <a:gradFill>
              <a:gsLst>
                <a:gs pos="0">
                  <a:srgbClr val="E7D190"/>
                </a:gs>
                <a:gs pos="50000">
                  <a:srgbClr val="F0B756"/>
                </a:gs>
                <a:gs pos="100000">
                  <a:srgbClr val="F99D1C"/>
                </a:gs>
              </a:gsLst>
              <a:lin ang="3883332"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77F6B43-B901-620E-D366-86808C93C597}"/>
                </a:ext>
              </a:extLst>
            </p:cNvPr>
            <p:cNvSpPr/>
            <p:nvPr/>
          </p:nvSpPr>
          <p:spPr>
            <a:xfrm>
              <a:off x="10385573" y="992689"/>
              <a:ext cx="270984" cy="423628"/>
            </a:xfrm>
            <a:custGeom>
              <a:avLst/>
              <a:gdLst>
                <a:gd name="connsiteX0" fmla="*/ 257459 w 270984"/>
                <a:gd name="connsiteY0" fmla="*/ 173295 h 423628"/>
                <a:gd name="connsiteX1" fmla="*/ 14192 w 270984"/>
                <a:gd name="connsiteY1" fmla="*/ 32897 h 423628"/>
                <a:gd name="connsiteX2" fmla="*/ 762 w 270984"/>
                <a:gd name="connsiteY2" fmla="*/ 9561 h 423628"/>
                <a:gd name="connsiteX3" fmla="*/ 14288 w 270984"/>
                <a:gd name="connsiteY3" fmla="*/ 1845 h 423628"/>
                <a:gd name="connsiteX4" fmla="*/ 257554 w 270984"/>
                <a:gd name="connsiteY4" fmla="*/ 142244 h 423628"/>
                <a:gd name="connsiteX5" fmla="*/ 270984 w 270984"/>
                <a:gd name="connsiteY5" fmla="*/ 165580 h 423628"/>
                <a:gd name="connsiteX6" fmla="*/ 257459 w 270984"/>
                <a:gd name="connsiteY6" fmla="*/ 173295 h 423628"/>
                <a:gd name="connsiteX7" fmla="*/ 257173 w 270984"/>
                <a:gd name="connsiteY7" fmla="*/ 266449 h 423628"/>
                <a:gd name="connsiteX8" fmla="*/ 13906 w 270984"/>
                <a:gd name="connsiteY8" fmla="*/ 126050 h 423628"/>
                <a:gd name="connsiteX9" fmla="*/ 381 w 270984"/>
                <a:gd name="connsiteY9" fmla="*/ 133861 h 423628"/>
                <a:gd name="connsiteX10" fmla="*/ 13811 w 270984"/>
                <a:gd name="connsiteY10" fmla="*/ 157197 h 423628"/>
                <a:gd name="connsiteX11" fmla="*/ 257078 w 270984"/>
                <a:gd name="connsiteY11" fmla="*/ 297596 h 423628"/>
                <a:gd name="connsiteX12" fmla="*/ 270603 w 270984"/>
                <a:gd name="connsiteY12" fmla="*/ 289880 h 423628"/>
                <a:gd name="connsiteX13" fmla="*/ 257173 w 270984"/>
                <a:gd name="connsiteY13" fmla="*/ 266544 h 423628"/>
                <a:gd name="connsiteX14" fmla="*/ 257173 w 270984"/>
                <a:gd name="connsiteY14" fmla="*/ 266449 h 423628"/>
                <a:gd name="connsiteX15" fmla="*/ 256792 w 270984"/>
                <a:gd name="connsiteY15" fmla="*/ 390751 h 423628"/>
                <a:gd name="connsiteX16" fmla="*/ 13525 w 270984"/>
                <a:gd name="connsiteY16" fmla="*/ 250353 h 423628"/>
                <a:gd name="connsiteX17" fmla="*/ 0 w 270984"/>
                <a:gd name="connsiteY17" fmla="*/ 258068 h 423628"/>
                <a:gd name="connsiteX18" fmla="*/ 13430 w 270984"/>
                <a:gd name="connsiteY18" fmla="*/ 281404 h 423628"/>
                <a:gd name="connsiteX19" fmla="*/ 256697 w 270984"/>
                <a:gd name="connsiteY19" fmla="*/ 421803 h 423628"/>
                <a:gd name="connsiteX20" fmla="*/ 270222 w 270984"/>
                <a:gd name="connsiteY20" fmla="*/ 413992 h 423628"/>
                <a:gd name="connsiteX21" fmla="*/ 256792 w 270984"/>
                <a:gd name="connsiteY21" fmla="*/ 390656 h 423628"/>
                <a:gd name="connsiteX22" fmla="*/ 256792 w 270984"/>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4" h="423628">
                  <a:moveTo>
                    <a:pt x="257459" y="173295"/>
                  </a:moveTo>
                  <a:lnTo>
                    <a:pt x="14192" y="32897"/>
                  </a:lnTo>
                  <a:cubicBezTo>
                    <a:pt x="6763" y="28515"/>
                    <a:pt x="762" y="18133"/>
                    <a:pt x="762" y="9561"/>
                  </a:cubicBezTo>
                  <a:cubicBezTo>
                    <a:pt x="762" y="988"/>
                    <a:pt x="6763" y="-2441"/>
                    <a:pt x="14288" y="1845"/>
                  </a:cubicBezTo>
                  <a:lnTo>
                    <a:pt x="257554" y="142244"/>
                  </a:lnTo>
                  <a:cubicBezTo>
                    <a:pt x="264984" y="146625"/>
                    <a:pt x="270984" y="157008"/>
                    <a:pt x="270984" y="165580"/>
                  </a:cubicBezTo>
                  <a:cubicBezTo>
                    <a:pt x="270984" y="174057"/>
                    <a:pt x="264984" y="177582"/>
                    <a:pt x="257459" y="173295"/>
                  </a:cubicBezTo>
                  <a:close/>
                  <a:moveTo>
                    <a:pt x="257173" y="266449"/>
                  </a:moveTo>
                  <a:lnTo>
                    <a:pt x="13906" y="126050"/>
                  </a:lnTo>
                  <a:cubicBezTo>
                    <a:pt x="6382" y="121764"/>
                    <a:pt x="381" y="125288"/>
                    <a:pt x="381" y="133861"/>
                  </a:cubicBezTo>
                  <a:cubicBezTo>
                    <a:pt x="381" y="142433"/>
                    <a:pt x="6382" y="152816"/>
                    <a:pt x="13811" y="157197"/>
                  </a:cubicBezTo>
                  <a:lnTo>
                    <a:pt x="257078" y="297596"/>
                  </a:lnTo>
                  <a:cubicBezTo>
                    <a:pt x="264603" y="301882"/>
                    <a:pt x="270603" y="298358"/>
                    <a:pt x="270603" y="289880"/>
                  </a:cubicBezTo>
                  <a:cubicBezTo>
                    <a:pt x="270603" y="281308"/>
                    <a:pt x="264603" y="270830"/>
                    <a:pt x="257173" y="266544"/>
                  </a:cubicBezTo>
                  <a:lnTo>
                    <a:pt x="257173" y="266449"/>
                  </a:lnTo>
                  <a:close/>
                  <a:moveTo>
                    <a:pt x="256792" y="390751"/>
                  </a:moveTo>
                  <a:lnTo>
                    <a:pt x="13525" y="250353"/>
                  </a:lnTo>
                  <a:cubicBezTo>
                    <a:pt x="6001" y="246066"/>
                    <a:pt x="0" y="249591"/>
                    <a:pt x="0" y="258068"/>
                  </a:cubicBezTo>
                  <a:cubicBezTo>
                    <a:pt x="0" y="266640"/>
                    <a:pt x="6001" y="277118"/>
                    <a:pt x="13430" y="281404"/>
                  </a:cubicBezTo>
                  <a:lnTo>
                    <a:pt x="256697" y="421803"/>
                  </a:lnTo>
                  <a:cubicBezTo>
                    <a:pt x="264222" y="426089"/>
                    <a:pt x="270222" y="422565"/>
                    <a:pt x="270222" y="413992"/>
                  </a:cubicBezTo>
                  <a:cubicBezTo>
                    <a:pt x="270222" y="405420"/>
                    <a:pt x="264222" y="395037"/>
                    <a:pt x="256792" y="390656"/>
                  </a:cubicBezTo>
                  <a:lnTo>
                    <a:pt x="256792" y="390751"/>
                  </a:lnTo>
                  <a:close/>
                </a:path>
              </a:pathLst>
            </a:custGeom>
            <a:solidFill>
              <a:srgbClr val="FFF2C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78F38E2-A124-00BE-DAA4-3FEFAB5DA234}"/>
                </a:ext>
              </a:extLst>
            </p:cNvPr>
            <p:cNvSpPr/>
            <p:nvPr/>
          </p:nvSpPr>
          <p:spPr>
            <a:xfrm>
              <a:off x="10317566" y="763449"/>
              <a:ext cx="460816" cy="855829"/>
            </a:xfrm>
            <a:custGeom>
              <a:avLst/>
              <a:gdLst>
                <a:gd name="connsiteX0" fmla="*/ 460055 w 460816"/>
                <a:gd name="connsiteY0" fmla="*/ 269566 h 855829"/>
                <a:gd name="connsiteX1" fmla="*/ 459578 w 460816"/>
                <a:gd name="connsiteY1" fmla="*/ 266804 h 855829"/>
                <a:gd name="connsiteX2" fmla="*/ 458054 w 460816"/>
                <a:gd name="connsiteY2" fmla="*/ 260136 h 855829"/>
                <a:gd name="connsiteX3" fmla="*/ 457292 w 460816"/>
                <a:gd name="connsiteY3" fmla="*/ 257279 h 855829"/>
                <a:gd name="connsiteX4" fmla="*/ 454340 w 460816"/>
                <a:gd name="connsiteY4" fmla="*/ 249183 h 855829"/>
                <a:gd name="connsiteX5" fmla="*/ 453959 w 460816"/>
                <a:gd name="connsiteY5" fmla="*/ 248135 h 855829"/>
                <a:gd name="connsiteX6" fmla="*/ 453959 w 460816"/>
                <a:gd name="connsiteY6" fmla="*/ 247944 h 855829"/>
                <a:gd name="connsiteX7" fmla="*/ 449577 w 460816"/>
                <a:gd name="connsiteY7" fmla="*/ 239562 h 855829"/>
                <a:gd name="connsiteX8" fmla="*/ 448339 w 460816"/>
                <a:gd name="connsiteY8" fmla="*/ 237467 h 855829"/>
                <a:gd name="connsiteX9" fmla="*/ 443576 w 460816"/>
                <a:gd name="connsiteY9" fmla="*/ 230228 h 855829"/>
                <a:gd name="connsiteX10" fmla="*/ 442910 w 460816"/>
                <a:gd name="connsiteY10" fmla="*/ 229275 h 855829"/>
                <a:gd name="connsiteX11" fmla="*/ 438147 w 460816"/>
                <a:gd name="connsiteY11" fmla="*/ 223275 h 855829"/>
                <a:gd name="connsiteX12" fmla="*/ 436814 w 460816"/>
                <a:gd name="connsiteY12" fmla="*/ 221846 h 855829"/>
                <a:gd name="connsiteX13" fmla="*/ 435671 w 460816"/>
                <a:gd name="connsiteY13" fmla="*/ 220608 h 855829"/>
                <a:gd name="connsiteX14" fmla="*/ 429003 w 460816"/>
                <a:gd name="connsiteY14" fmla="*/ 214416 h 855829"/>
                <a:gd name="connsiteX15" fmla="*/ 427955 w 460816"/>
                <a:gd name="connsiteY15" fmla="*/ 213654 h 855829"/>
                <a:gd name="connsiteX16" fmla="*/ 420431 w 460816"/>
                <a:gd name="connsiteY16" fmla="*/ 208416 h 855829"/>
                <a:gd name="connsiteX17" fmla="*/ 69056 w 460816"/>
                <a:gd name="connsiteY17" fmla="*/ 5533 h 855829"/>
                <a:gd name="connsiteX18" fmla="*/ 40291 w 460816"/>
                <a:gd name="connsiteY18" fmla="*/ 2676 h 855829"/>
                <a:gd name="connsiteX19" fmla="*/ 0 w 460816"/>
                <a:gd name="connsiteY19" fmla="*/ 26107 h 855829"/>
                <a:gd name="connsiteX20" fmla="*/ 28765 w 460816"/>
                <a:gd name="connsiteY20" fmla="*/ 28965 h 855829"/>
                <a:gd name="connsiteX21" fmla="*/ 380140 w 460816"/>
                <a:gd name="connsiteY21" fmla="*/ 231847 h 855829"/>
                <a:gd name="connsiteX22" fmla="*/ 387665 w 460816"/>
                <a:gd name="connsiteY22" fmla="*/ 237086 h 855829"/>
                <a:gd name="connsiteX23" fmla="*/ 388617 w 460816"/>
                <a:gd name="connsiteY23" fmla="*/ 237848 h 855829"/>
                <a:gd name="connsiteX24" fmla="*/ 395285 w 460816"/>
                <a:gd name="connsiteY24" fmla="*/ 244039 h 855829"/>
                <a:gd name="connsiteX25" fmla="*/ 396428 w 460816"/>
                <a:gd name="connsiteY25" fmla="*/ 245277 h 855829"/>
                <a:gd name="connsiteX26" fmla="*/ 402619 w 460816"/>
                <a:gd name="connsiteY26" fmla="*/ 252707 h 855829"/>
                <a:gd name="connsiteX27" fmla="*/ 403286 w 460816"/>
                <a:gd name="connsiteY27" fmla="*/ 253659 h 855829"/>
                <a:gd name="connsiteX28" fmla="*/ 408048 w 460816"/>
                <a:gd name="connsiteY28" fmla="*/ 260994 h 855829"/>
                <a:gd name="connsiteX29" fmla="*/ 409286 w 460816"/>
                <a:gd name="connsiteY29" fmla="*/ 263089 h 855829"/>
                <a:gd name="connsiteX30" fmla="*/ 413668 w 460816"/>
                <a:gd name="connsiteY30" fmla="*/ 271662 h 855829"/>
                <a:gd name="connsiteX31" fmla="*/ 414049 w 460816"/>
                <a:gd name="connsiteY31" fmla="*/ 272614 h 855829"/>
                <a:gd name="connsiteX32" fmla="*/ 417002 w 460816"/>
                <a:gd name="connsiteY32" fmla="*/ 280710 h 855829"/>
                <a:gd name="connsiteX33" fmla="*/ 417764 w 460816"/>
                <a:gd name="connsiteY33" fmla="*/ 283473 h 855829"/>
                <a:gd name="connsiteX34" fmla="*/ 419288 w 460816"/>
                <a:gd name="connsiteY34" fmla="*/ 290140 h 855829"/>
                <a:gd name="connsiteX35" fmla="*/ 419764 w 460816"/>
                <a:gd name="connsiteY35" fmla="*/ 292902 h 855829"/>
                <a:gd name="connsiteX36" fmla="*/ 420526 w 460816"/>
                <a:gd name="connsiteY36" fmla="*/ 301856 h 855829"/>
                <a:gd name="connsiteX37" fmla="*/ 419002 w 460816"/>
                <a:gd name="connsiteY37" fmla="*/ 829827 h 855829"/>
                <a:gd name="connsiteX38" fmla="*/ 407191 w 460816"/>
                <a:gd name="connsiteY38" fmla="*/ 855830 h 855829"/>
                <a:gd name="connsiteX39" fmla="*/ 447482 w 460816"/>
                <a:gd name="connsiteY39" fmla="*/ 832398 h 855829"/>
                <a:gd name="connsiteX40" fmla="*/ 459293 w 460816"/>
                <a:gd name="connsiteY40" fmla="*/ 806395 h 855829"/>
                <a:gd name="connsiteX41" fmla="*/ 460817 w 460816"/>
                <a:gd name="connsiteY41" fmla="*/ 278424 h 855829"/>
                <a:gd name="connsiteX42" fmla="*/ 460055 w 460816"/>
                <a:gd name="connsiteY42" fmla="*/ 269471 h 855829"/>
                <a:gd name="connsiteX43" fmla="*/ 460055 w 460816"/>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6" h="855829">
                  <a:moveTo>
                    <a:pt x="460055" y="269566"/>
                  </a:moveTo>
                  <a:cubicBezTo>
                    <a:pt x="459959" y="268614"/>
                    <a:pt x="459769" y="267756"/>
                    <a:pt x="459578" y="266804"/>
                  </a:cubicBezTo>
                  <a:cubicBezTo>
                    <a:pt x="459197" y="264613"/>
                    <a:pt x="458626" y="262422"/>
                    <a:pt x="458054" y="260136"/>
                  </a:cubicBezTo>
                  <a:cubicBezTo>
                    <a:pt x="457769" y="259184"/>
                    <a:pt x="457578" y="258231"/>
                    <a:pt x="457292" y="257279"/>
                  </a:cubicBezTo>
                  <a:cubicBezTo>
                    <a:pt x="456435" y="254517"/>
                    <a:pt x="455483" y="251850"/>
                    <a:pt x="454340" y="249183"/>
                  </a:cubicBezTo>
                  <a:cubicBezTo>
                    <a:pt x="454244" y="248897"/>
                    <a:pt x="454054" y="248516"/>
                    <a:pt x="453959" y="248135"/>
                  </a:cubicBezTo>
                  <a:lnTo>
                    <a:pt x="453959" y="247944"/>
                  </a:lnTo>
                  <a:cubicBezTo>
                    <a:pt x="452625" y="245087"/>
                    <a:pt x="451196" y="242325"/>
                    <a:pt x="449577" y="239562"/>
                  </a:cubicBezTo>
                  <a:cubicBezTo>
                    <a:pt x="449196" y="238800"/>
                    <a:pt x="448720" y="238134"/>
                    <a:pt x="448339" y="237467"/>
                  </a:cubicBezTo>
                  <a:cubicBezTo>
                    <a:pt x="446815" y="234990"/>
                    <a:pt x="445291" y="232514"/>
                    <a:pt x="443576" y="230228"/>
                  </a:cubicBezTo>
                  <a:cubicBezTo>
                    <a:pt x="443386" y="229942"/>
                    <a:pt x="443195" y="229561"/>
                    <a:pt x="442910" y="229275"/>
                  </a:cubicBezTo>
                  <a:cubicBezTo>
                    <a:pt x="441386" y="227180"/>
                    <a:pt x="439766" y="225180"/>
                    <a:pt x="438147" y="223275"/>
                  </a:cubicBezTo>
                  <a:cubicBezTo>
                    <a:pt x="437671" y="222798"/>
                    <a:pt x="437195" y="222322"/>
                    <a:pt x="436814" y="221846"/>
                  </a:cubicBezTo>
                  <a:cubicBezTo>
                    <a:pt x="436433" y="221465"/>
                    <a:pt x="436052" y="220989"/>
                    <a:pt x="435671" y="220608"/>
                  </a:cubicBezTo>
                  <a:cubicBezTo>
                    <a:pt x="433575" y="218417"/>
                    <a:pt x="431289" y="216321"/>
                    <a:pt x="429003" y="214416"/>
                  </a:cubicBezTo>
                  <a:cubicBezTo>
                    <a:pt x="428622" y="214131"/>
                    <a:pt x="428336" y="213940"/>
                    <a:pt x="427955" y="213654"/>
                  </a:cubicBezTo>
                  <a:cubicBezTo>
                    <a:pt x="425479" y="211749"/>
                    <a:pt x="423002" y="209940"/>
                    <a:pt x="420431" y="208416"/>
                  </a:cubicBezTo>
                  <a:lnTo>
                    <a:pt x="69056" y="5533"/>
                  </a:lnTo>
                  <a:cubicBezTo>
                    <a:pt x="57817" y="-944"/>
                    <a:pt x="47625" y="-1515"/>
                    <a:pt x="40291" y="2676"/>
                  </a:cubicBezTo>
                  <a:lnTo>
                    <a:pt x="0" y="26107"/>
                  </a:lnTo>
                  <a:cubicBezTo>
                    <a:pt x="7334" y="21821"/>
                    <a:pt x="17526" y="22392"/>
                    <a:pt x="28765" y="28965"/>
                  </a:cubicBezTo>
                  <a:lnTo>
                    <a:pt x="380140" y="231847"/>
                  </a:lnTo>
                  <a:cubicBezTo>
                    <a:pt x="382712" y="233371"/>
                    <a:pt x="385188" y="235086"/>
                    <a:pt x="387665" y="237086"/>
                  </a:cubicBezTo>
                  <a:cubicBezTo>
                    <a:pt x="387950" y="237372"/>
                    <a:pt x="388331" y="237562"/>
                    <a:pt x="388617" y="237848"/>
                  </a:cubicBezTo>
                  <a:cubicBezTo>
                    <a:pt x="390903" y="239753"/>
                    <a:pt x="393094" y="241848"/>
                    <a:pt x="395285" y="244039"/>
                  </a:cubicBezTo>
                  <a:cubicBezTo>
                    <a:pt x="395666" y="244420"/>
                    <a:pt x="396047" y="244896"/>
                    <a:pt x="396428" y="245277"/>
                  </a:cubicBezTo>
                  <a:cubicBezTo>
                    <a:pt x="398618" y="247659"/>
                    <a:pt x="400714" y="250135"/>
                    <a:pt x="402619" y="252707"/>
                  </a:cubicBezTo>
                  <a:cubicBezTo>
                    <a:pt x="402809" y="252993"/>
                    <a:pt x="403000" y="253278"/>
                    <a:pt x="403286" y="253659"/>
                  </a:cubicBezTo>
                  <a:cubicBezTo>
                    <a:pt x="405000" y="256041"/>
                    <a:pt x="406524" y="258422"/>
                    <a:pt x="408048" y="260994"/>
                  </a:cubicBezTo>
                  <a:cubicBezTo>
                    <a:pt x="408429" y="261660"/>
                    <a:pt x="408905" y="262422"/>
                    <a:pt x="409286" y="263089"/>
                  </a:cubicBezTo>
                  <a:cubicBezTo>
                    <a:pt x="410906" y="265947"/>
                    <a:pt x="412334" y="268804"/>
                    <a:pt x="413668" y="271662"/>
                  </a:cubicBezTo>
                  <a:cubicBezTo>
                    <a:pt x="413763" y="271947"/>
                    <a:pt x="413954" y="272328"/>
                    <a:pt x="414049" y="272614"/>
                  </a:cubicBezTo>
                  <a:cubicBezTo>
                    <a:pt x="415192" y="275281"/>
                    <a:pt x="416144" y="278043"/>
                    <a:pt x="417002" y="280710"/>
                  </a:cubicBezTo>
                  <a:cubicBezTo>
                    <a:pt x="417287" y="281663"/>
                    <a:pt x="417573" y="282615"/>
                    <a:pt x="417764" y="283473"/>
                  </a:cubicBezTo>
                  <a:cubicBezTo>
                    <a:pt x="418430" y="285663"/>
                    <a:pt x="418907" y="287949"/>
                    <a:pt x="419288" y="290140"/>
                  </a:cubicBezTo>
                  <a:cubicBezTo>
                    <a:pt x="419478" y="291093"/>
                    <a:pt x="419669" y="291950"/>
                    <a:pt x="419764" y="292902"/>
                  </a:cubicBezTo>
                  <a:cubicBezTo>
                    <a:pt x="420240" y="295950"/>
                    <a:pt x="420526" y="298903"/>
                    <a:pt x="420526" y="301856"/>
                  </a:cubicBezTo>
                  <a:lnTo>
                    <a:pt x="419002" y="829827"/>
                  </a:lnTo>
                  <a:cubicBezTo>
                    <a:pt x="419002" y="842590"/>
                    <a:pt x="414430" y="851639"/>
                    <a:pt x="407191" y="855830"/>
                  </a:cubicBezTo>
                  <a:lnTo>
                    <a:pt x="447482" y="832398"/>
                  </a:lnTo>
                  <a:cubicBezTo>
                    <a:pt x="454721" y="828207"/>
                    <a:pt x="459293" y="819159"/>
                    <a:pt x="459293" y="806395"/>
                  </a:cubicBezTo>
                  <a:lnTo>
                    <a:pt x="460817" y="278424"/>
                  </a:lnTo>
                  <a:cubicBezTo>
                    <a:pt x="460817" y="275472"/>
                    <a:pt x="460531" y="272519"/>
                    <a:pt x="460055" y="269471"/>
                  </a:cubicBezTo>
                  <a:lnTo>
                    <a:pt x="460055" y="269566"/>
                  </a:lnTo>
                  <a:close/>
                </a:path>
              </a:pathLst>
            </a:custGeom>
            <a:gradFill>
              <a:gsLst>
                <a:gs pos="0">
                  <a:srgbClr val="FFF2C3"/>
                </a:gs>
                <a:gs pos="64583">
                  <a:srgbClr val="FFC83E"/>
                </a:gs>
                <a:gs pos="100000">
                  <a:srgbClr val="EC952E"/>
                </a:gs>
              </a:gsLst>
              <a:lin ang="503991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404C9E21-62B2-B4F5-E00D-934FB3A0501E}"/>
                </a:ext>
              </a:extLst>
            </p:cNvPr>
            <p:cNvSpPr/>
            <p:nvPr/>
          </p:nvSpPr>
          <p:spPr>
            <a:xfrm>
              <a:off x="10191643" y="853530"/>
              <a:ext cx="433958" cy="835256"/>
            </a:xfrm>
            <a:custGeom>
              <a:avLst/>
              <a:gdLst>
                <a:gd name="connsiteX0" fmla="*/ 393572 w 433958"/>
                <a:gd name="connsiteY0" fmla="*/ 208536 h 835256"/>
                <a:gd name="connsiteX1" fmla="*/ 433958 w 433958"/>
                <a:gd name="connsiteY1" fmla="*/ 278545 h 835256"/>
                <a:gd name="connsiteX2" fmla="*/ 432434 w 433958"/>
                <a:gd name="connsiteY2" fmla="*/ 806515 h 835256"/>
                <a:gd name="connsiteX3" fmla="*/ 391763 w 433958"/>
                <a:gd name="connsiteY3" fmla="*/ 829661 h 835256"/>
                <a:gd name="connsiteX4" fmla="*/ 40386 w 433958"/>
                <a:gd name="connsiteY4" fmla="*/ 626779 h 835256"/>
                <a:gd name="connsiteX5" fmla="*/ 0 w 433958"/>
                <a:gd name="connsiteY5" fmla="*/ 556770 h 835256"/>
                <a:gd name="connsiteX6" fmla="*/ 1524 w 433958"/>
                <a:gd name="connsiteY6" fmla="*/ 28799 h 835256"/>
                <a:gd name="connsiteX7" fmla="*/ 42196 w 433958"/>
                <a:gd name="connsiteY7" fmla="*/ 5558 h 835256"/>
                <a:gd name="connsiteX8" fmla="*/ 393572 w 433958"/>
                <a:gd name="connsiteY8" fmla="*/ 208441 h 835256"/>
                <a:gd name="connsiteX9" fmla="*/ 393572 w 433958"/>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8" h="835256">
                  <a:moveTo>
                    <a:pt x="393572" y="208536"/>
                  </a:moveTo>
                  <a:cubicBezTo>
                    <a:pt x="415956" y="221490"/>
                    <a:pt x="434054" y="252827"/>
                    <a:pt x="433958" y="278545"/>
                  </a:cubicBezTo>
                  <a:lnTo>
                    <a:pt x="432434" y="806515"/>
                  </a:lnTo>
                  <a:cubicBezTo>
                    <a:pt x="432434" y="832328"/>
                    <a:pt x="414146" y="842615"/>
                    <a:pt x="391763" y="829661"/>
                  </a:cubicBezTo>
                  <a:lnTo>
                    <a:pt x="40386" y="626779"/>
                  </a:lnTo>
                  <a:cubicBezTo>
                    <a:pt x="18003" y="613825"/>
                    <a:pt x="-95" y="582583"/>
                    <a:pt x="0" y="556770"/>
                  </a:cubicBezTo>
                  <a:lnTo>
                    <a:pt x="1524" y="28799"/>
                  </a:lnTo>
                  <a:cubicBezTo>
                    <a:pt x="1524" y="3082"/>
                    <a:pt x="19812" y="-7396"/>
                    <a:pt x="42196" y="5558"/>
                  </a:cubicBezTo>
                  <a:lnTo>
                    <a:pt x="393572" y="208441"/>
                  </a:lnTo>
                  <a:lnTo>
                    <a:pt x="393572" y="208536"/>
                  </a:lnTo>
                  <a:close/>
                </a:path>
              </a:pathLst>
            </a:custGeom>
            <a:gradFill>
              <a:gsLst>
                <a:gs pos="0">
                  <a:srgbClr val="D1ABE6"/>
                </a:gs>
                <a:gs pos="80000">
                  <a:srgbClr val="A864CD"/>
                </a:gs>
                <a:gs pos="100000">
                  <a:srgbClr val="A864CD"/>
                </a:gs>
              </a:gsLst>
              <a:lin ang="3932344"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DF54D85A-97B1-4F61-1E7E-D79AB7650CA7}"/>
                </a:ext>
              </a:extLst>
            </p:cNvPr>
            <p:cNvSpPr/>
            <p:nvPr/>
          </p:nvSpPr>
          <p:spPr>
            <a:xfrm>
              <a:off x="10273177" y="1059364"/>
              <a:ext cx="270985" cy="423628"/>
            </a:xfrm>
            <a:custGeom>
              <a:avLst/>
              <a:gdLst>
                <a:gd name="connsiteX0" fmla="*/ 257460 w 270985"/>
                <a:gd name="connsiteY0" fmla="*/ 173295 h 423628"/>
                <a:gd name="connsiteX1" fmla="*/ 14193 w 270985"/>
                <a:gd name="connsiteY1" fmla="*/ 32897 h 423628"/>
                <a:gd name="connsiteX2" fmla="*/ 763 w 270985"/>
                <a:gd name="connsiteY2" fmla="*/ 9561 h 423628"/>
                <a:gd name="connsiteX3" fmla="*/ 14288 w 270985"/>
                <a:gd name="connsiteY3" fmla="*/ 1845 h 423628"/>
                <a:gd name="connsiteX4" fmla="*/ 257555 w 270985"/>
                <a:gd name="connsiteY4" fmla="*/ 142244 h 423628"/>
                <a:gd name="connsiteX5" fmla="*/ 270985 w 270985"/>
                <a:gd name="connsiteY5" fmla="*/ 165580 h 423628"/>
                <a:gd name="connsiteX6" fmla="*/ 257460 w 270985"/>
                <a:gd name="connsiteY6" fmla="*/ 173295 h 423628"/>
                <a:gd name="connsiteX7" fmla="*/ 257174 w 270985"/>
                <a:gd name="connsiteY7" fmla="*/ 266449 h 423628"/>
                <a:gd name="connsiteX8" fmla="*/ 13906 w 270985"/>
                <a:gd name="connsiteY8" fmla="*/ 126050 h 423628"/>
                <a:gd name="connsiteX9" fmla="*/ 381 w 270985"/>
                <a:gd name="connsiteY9" fmla="*/ 133861 h 423628"/>
                <a:gd name="connsiteX10" fmla="*/ 13811 w 270985"/>
                <a:gd name="connsiteY10" fmla="*/ 157197 h 423628"/>
                <a:gd name="connsiteX11" fmla="*/ 257079 w 270985"/>
                <a:gd name="connsiteY11" fmla="*/ 297596 h 423628"/>
                <a:gd name="connsiteX12" fmla="*/ 270604 w 270985"/>
                <a:gd name="connsiteY12" fmla="*/ 289880 h 423628"/>
                <a:gd name="connsiteX13" fmla="*/ 257174 w 270985"/>
                <a:gd name="connsiteY13" fmla="*/ 266544 h 423628"/>
                <a:gd name="connsiteX14" fmla="*/ 257174 w 270985"/>
                <a:gd name="connsiteY14" fmla="*/ 266449 h 423628"/>
                <a:gd name="connsiteX15" fmla="*/ 256793 w 270985"/>
                <a:gd name="connsiteY15" fmla="*/ 390751 h 423628"/>
                <a:gd name="connsiteX16" fmla="*/ 13525 w 270985"/>
                <a:gd name="connsiteY16" fmla="*/ 250353 h 423628"/>
                <a:gd name="connsiteX17" fmla="*/ 0 w 270985"/>
                <a:gd name="connsiteY17" fmla="*/ 258068 h 423628"/>
                <a:gd name="connsiteX18" fmla="*/ 13430 w 270985"/>
                <a:gd name="connsiteY18" fmla="*/ 281404 h 423628"/>
                <a:gd name="connsiteX19" fmla="*/ 256698 w 270985"/>
                <a:gd name="connsiteY19" fmla="*/ 421803 h 423628"/>
                <a:gd name="connsiteX20" fmla="*/ 270223 w 270985"/>
                <a:gd name="connsiteY20" fmla="*/ 413992 h 423628"/>
                <a:gd name="connsiteX21" fmla="*/ 256793 w 270985"/>
                <a:gd name="connsiteY21" fmla="*/ 390656 h 423628"/>
                <a:gd name="connsiteX22" fmla="*/ 256793 w 270985"/>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5" h="423628">
                  <a:moveTo>
                    <a:pt x="257460" y="173295"/>
                  </a:moveTo>
                  <a:lnTo>
                    <a:pt x="14193" y="32897"/>
                  </a:lnTo>
                  <a:cubicBezTo>
                    <a:pt x="6764" y="28515"/>
                    <a:pt x="763" y="18133"/>
                    <a:pt x="763" y="9561"/>
                  </a:cubicBezTo>
                  <a:cubicBezTo>
                    <a:pt x="763" y="988"/>
                    <a:pt x="6764" y="-2441"/>
                    <a:pt x="14288" y="1845"/>
                  </a:cubicBezTo>
                  <a:lnTo>
                    <a:pt x="257555" y="142244"/>
                  </a:lnTo>
                  <a:cubicBezTo>
                    <a:pt x="264985" y="146625"/>
                    <a:pt x="270985" y="157008"/>
                    <a:pt x="270985" y="165580"/>
                  </a:cubicBezTo>
                  <a:cubicBezTo>
                    <a:pt x="270985" y="174057"/>
                    <a:pt x="264985" y="177582"/>
                    <a:pt x="257460" y="173295"/>
                  </a:cubicBezTo>
                  <a:close/>
                  <a:moveTo>
                    <a:pt x="257174" y="266449"/>
                  </a:moveTo>
                  <a:lnTo>
                    <a:pt x="13906" y="126050"/>
                  </a:lnTo>
                  <a:cubicBezTo>
                    <a:pt x="6382" y="121764"/>
                    <a:pt x="381" y="125288"/>
                    <a:pt x="381" y="133861"/>
                  </a:cubicBezTo>
                  <a:cubicBezTo>
                    <a:pt x="381" y="142433"/>
                    <a:pt x="6382" y="152816"/>
                    <a:pt x="13811" y="157197"/>
                  </a:cubicBezTo>
                  <a:lnTo>
                    <a:pt x="257079" y="297596"/>
                  </a:lnTo>
                  <a:cubicBezTo>
                    <a:pt x="264604" y="301882"/>
                    <a:pt x="270604" y="298358"/>
                    <a:pt x="270604" y="289880"/>
                  </a:cubicBezTo>
                  <a:cubicBezTo>
                    <a:pt x="270604" y="281308"/>
                    <a:pt x="264604" y="270830"/>
                    <a:pt x="257174" y="266544"/>
                  </a:cubicBezTo>
                  <a:lnTo>
                    <a:pt x="257174" y="266449"/>
                  </a:lnTo>
                  <a:close/>
                  <a:moveTo>
                    <a:pt x="256793" y="390751"/>
                  </a:moveTo>
                  <a:lnTo>
                    <a:pt x="13525" y="250353"/>
                  </a:lnTo>
                  <a:cubicBezTo>
                    <a:pt x="6001" y="246066"/>
                    <a:pt x="0" y="249591"/>
                    <a:pt x="0" y="258068"/>
                  </a:cubicBezTo>
                  <a:cubicBezTo>
                    <a:pt x="0" y="266640"/>
                    <a:pt x="6001" y="277118"/>
                    <a:pt x="13430" y="281404"/>
                  </a:cubicBezTo>
                  <a:lnTo>
                    <a:pt x="256698" y="421803"/>
                  </a:lnTo>
                  <a:cubicBezTo>
                    <a:pt x="264223" y="426089"/>
                    <a:pt x="270223" y="422565"/>
                    <a:pt x="270223" y="413992"/>
                  </a:cubicBezTo>
                  <a:cubicBezTo>
                    <a:pt x="270223" y="405420"/>
                    <a:pt x="264223" y="395037"/>
                    <a:pt x="256793" y="390656"/>
                  </a:cubicBezTo>
                  <a:lnTo>
                    <a:pt x="256793" y="390751"/>
                  </a:lnTo>
                  <a:close/>
                </a:path>
              </a:pathLst>
            </a:custGeom>
            <a:solidFill>
              <a:srgbClr val="F5EDFD"/>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7DED308-682A-0778-1FFD-C6D8F67DE9E5}"/>
                </a:ext>
              </a:extLst>
            </p:cNvPr>
            <p:cNvSpPr/>
            <p:nvPr/>
          </p:nvSpPr>
          <p:spPr>
            <a:xfrm>
              <a:off x="10205170" y="830124"/>
              <a:ext cx="460817" cy="855829"/>
            </a:xfrm>
            <a:custGeom>
              <a:avLst/>
              <a:gdLst>
                <a:gd name="connsiteX0" fmla="*/ 460056 w 460817"/>
                <a:gd name="connsiteY0" fmla="*/ 269566 h 855829"/>
                <a:gd name="connsiteX1" fmla="*/ 459579 w 460817"/>
                <a:gd name="connsiteY1" fmla="*/ 266804 h 855829"/>
                <a:gd name="connsiteX2" fmla="*/ 458055 w 460817"/>
                <a:gd name="connsiteY2" fmla="*/ 260136 h 855829"/>
                <a:gd name="connsiteX3" fmla="*/ 457293 w 460817"/>
                <a:gd name="connsiteY3" fmla="*/ 257279 h 855829"/>
                <a:gd name="connsiteX4" fmla="*/ 454341 w 460817"/>
                <a:gd name="connsiteY4" fmla="*/ 249183 h 855829"/>
                <a:gd name="connsiteX5" fmla="*/ 453960 w 460817"/>
                <a:gd name="connsiteY5" fmla="*/ 248135 h 855829"/>
                <a:gd name="connsiteX6" fmla="*/ 453960 w 460817"/>
                <a:gd name="connsiteY6" fmla="*/ 247944 h 855829"/>
                <a:gd name="connsiteX7" fmla="*/ 449578 w 460817"/>
                <a:gd name="connsiteY7" fmla="*/ 239562 h 855829"/>
                <a:gd name="connsiteX8" fmla="*/ 448340 w 460817"/>
                <a:gd name="connsiteY8" fmla="*/ 237467 h 855829"/>
                <a:gd name="connsiteX9" fmla="*/ 443577 w 460817"/>
                <a:gd name="connsiteY9" fmla="*/ 230228 h 855829"/>
                <a:gd name="connsiteX10" fmla="*/ 442911 w 460817"/>
                <a:gd name="connsiteY10" fmla="*/ 229275 h 855829"/>
                <a:gd name="connsiteX11" fmla="*/ 438148 w 460817"/>
                <a:gd name="connsiteY11" fmla="*/ 223275 h 855829"/>
                <a:gd name="connsiteX12" fmla="*/ 436815 w 460817"/>
                <a:gd name="connsiteY12" fmla="*/ 221846 h 855829"/>
                <a:gd name="connsiteX13" fmla="*/ 435672 w 460817"/>
                <a:gd name="connsiteY13" fmla="*/ 220608 h 855829"/>
                <a:gd name="connsiteX14" fmla="*/ 429004 w 460817"/>
                <a:gd name="connsiteY14" fmla="*/ 214416 h 855829"/>
                <a:gd name="connsiteX15" fmla="*/ 427956 w 460817"/>
                <a:gd name="connsiteY15" fmla="*/ 213654 h 855829"/>
                <a:gd name="connsiteX16" fmla="*/ 420432 w 460817"/>
                <a:gd name="connsiteY16" fmla="*/ 208416 h 855829"/>
                <a:gd name="connsiteX17" fmla="*/ 69056 w 460817"/>
                <a:gd name="connsiteY17" fmla="*/ 5533 h 855829"/>
                <a:gd name="connsiteX18" fmla="*/ 40291 w 460817"/>
                <a:gd name="connsiteY18" fmla="*/ 2676 h 855829"/>
                <a:gd name="connsiteX19" fmla="*/ 0 w 460817"/>
                <a:gd name="connsiteY19" fmla="*/ 26107 h 855829"/>
                <a:gd name="connsiteX20" fmla="*/ 28765 w 460817"/>
                <a:gd name="connsiteY20" fmla="*/ 28965 h 855829"/>
                <a:gd name="connsiteX21" fmla="*/ 380141 w 460817"/>
                <a:gd name="connsiteY21" fmla="*/ 231847 h 855829"/>
                <a:gd name="connsiteX22" fmla="*/ 387666 w 460817"/>
                <a:gd name="connsiteY22" fmla="*/ 237086 h 855829"/>
                <a:gd name="connsiteX23" fmla="*/ 388618 w 460817"/>
                <a:gd name="connsiteY23" fmla="*/ 237848 h 855829"/>
                <a:gd name="connsiteX24" fmla="*/ 395286 w 460817"/>
                <a:gd name="connsiteY24" fmla="*/ 244039 h 855829"/>
                <a:gd name="connsiteX25" fmla="*/ 396429 w 460817"/>
                <a:gd name="connsiteY25" fmla="*/ 245277 h 855829"/>
                <a:gd name="connsiteX26" fmla="*/ 402620 w 460817"/>
                <a:gd name="connsiteY26" fmla="*/ 252707 h 855829"/>
                <a:gd name="connsiteX27" fmla="*/ 403287 w 460817"/>
                <a:gd name="connsiteY27" fmla="*/ 253659 h 855829"/>
                <a:gd name="connsiteX28" fmla="*/ 408049 w 460817"/>
                <a:gd name="connsiteY28" fmla="*/ 260994 h 855829"/>
                <a:gd name="connsiteX29" fmla="*/ 409287 w 460817"/>
                <a:gd name="connsiteY29" fmla="*/ 263089 h 855829"/>
                <a:gd name="connsiteX30" fmla="*/ 413669 w 460817"/>
                <a:gd name="connsiteY30" fmla="*/ 271662 h 855829"/>
                <a:gd name="connsiteX31" fmla="*/ 414050 w 460817"/>
                <a:gd name="connsiteY31" fmla="*/ 272614 h 855829"/>
                <a:gd name="connsiteX32" fmla="*/ 417003 w 460817"/>
                <a:gd name="connsiteY32" fmla="*/ 280710 h 855829"/>
                <a:gd name="connsiteX33" fmla="*/ 417765 w 460817"/>
                <a:gd name="connsiteY33" fmla="*/ 283473 h 855829"/>
                <a:gd name="connsiteX34" fmla="*/ 419289 w 460817"/>
                <a:gd name="connsiteY34" fmla="*/ 290140 h 855829"/>
                <a:gd name="connsiteX35" fmla="*/ 419765 w 460817"/>
                <a:gd name="connsiteY35" fmla="*/ 292902 h 855829"/>
                <a:gd name="connsiteX36" fmla="*/ 420527 w 460817"/>
                <a:gd name="connsiteY36" fmla="*/ 301856 h 855829"/>
                <a:gd name="connsiteX37" fmla="*/ 419003 w 460817"/>
                <a:gd name="connsiteY37" fmla="*/ 829827 h 855829"/>
                <a:gd name="connsiteX38" fmla="*/ 407192 w 460817"/>
                <a:gd name="connsiteY38" fmla="*/ 855830 h 855829"/>
                <a:gd name="connsiteX39" fmla="*/ 447483 w 460817"/>
                <a:gd name="connsiteY39" fmla="*/ 832398 h 855829"/>
                <a:gd name="connsiteX40" fmla="*/ 459294 w 460817"/>
                <a:gd name="connsiteY40" fmla="*/ 806395 h 855829"/>
                <a:gd name="connsiteX41" fmla="*/ 460818 w 460817"/>
                <a:gd name="connsiteY41" fmla="*/ 278424 h 855829"/>
                <a:gd name="connsiteX42" fmla="*/ 460056 w 460817"/>
                <a:gd name="connsiteY42" fmla="*/ 269471 h 855829"/>
                <a:gd name="connsiteX43" fmla="*/ 460056 w 460817"/>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29">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6" y="218417"/>
                    <a:pt x="431290" y="216321"/>
                    <a:pt x="429004" y="214416"/>
                  </a:cubicBezTo>
                  <a:cubicBezTo>
                    <a:pt x="428623" y="214131"/>
                    <a:pt x="428337" y="213940"/>
                    <a:pt x="427956" y="213654"/>
                  </a:cubicBezTo>
                  <a:cubicBezTo>
                    <a:pt x="425480" y="211749"/>
                    <a:pt x="423003" y="209940"/>
                    <a:pt x="420432" y="208416"/>
                  </a:cubicBezTo>
                  <a:lnTo>
                    <a:pt x="69056" y="5533"/>
                  </a:lnTo>
                  <a:cubicBezTo>
                    <a:pt x="57817" y="-944"/>
                    <a:pt x="47625" y="-1515"/>
                    <a:pt x="40291" y="2676"/>
                  </a:cubicBezTo>
                  <a:lnTo>
                    <a:pt x="0" y="26107"/>
                  </a:lnTo>
                  <a:cubicBezTo>
                    <a:pt x="7334" y="21821"/>
                    <a:pt x="17526" y="22392"/>
                    <a:pt x="28765" y="28965"/>
                  </a:cubicBezTo>
                  <a:lnTo>
                    <a:pt x="380141" y="231847"/>
                  </a:lnTo>
                  <a:cubicBezTo>
                    <a:pt x="382713" y="233371"/>
                    <a:pt x="385189" y="235086"/>
                    <a:pt x="387666" y="237086"/>
                  </a:cubicBezTo>
                  <a:cubicBezTo>
                    <a:pt x="387951" y="237372"/>
                    <a:pt x="388332" y="237562"/>
                    <a:pt x="388618" y="237848"/>
                  </a:cubicBezTo>
                  <a:cubicBezTo>
                    <a:pt x="390904" y="239753"/>
                    <a:pt x="393095" y="241848"/>
                    <a:pt x="395286" y="244039"/>
                  </a:cubicBezTo>
                  <a:cubicBezTo>
                    <a:pt x="395667" y="244420"/>
                    <a:pt x="396048" y="244896"/>
                    <a:pt x="396429" y="245277"/>
                  </a:cubicBezTo>
                  <a:cubicBezTo>
                    <a:pt x="398619" y="247659"/>
                    <a:pt x="400715" y="250135"/>
                    <a:pt x="402620" y="252707"/>
                  </a:cubicBezTo>
                  <a:cubicBezTo>
                    <a:pt x="402810" y="252993"/>
                    <a:pt x="403001" y="253278"/>
                    <a:pt x="403287" y="253659"/>
                  </a:cubicBezTo>
                  <a:cubicBezTo>
                    <a:pt x="405001" y="256041"/>
                    <a:pt x="406525" y="258422"/>
                    <a:pt x="408049" y="260994"/>
                  </a:cubicBezTo>
                  <a:cubicBezTo>
                    <a:pt x="408430" y="261660"/>
                    <a:pt x="408906" y="262422"/>
                    <a:pt x="409287" y="263089"/>
                  </a:cubicBezTo>
                  <a:cubicBezTo>
                    <a:pt x="410907" y="265947"/>
                    <a:pt x="412335" y="268804"/>
                    <a:pt x="413669" y="271662"/>
                  </a:cubicBezTo>
                  <a:cubicBezTo>
                    <a:pt x="413764" y="271947"/>
                    <a:pt x="413955" y="272328"/>
                    <a:pt x="414050" y="272614"/>
                  </a:cubicBezTo>
                  <a:cubicBezTo>
                    <a:pt x="415193" y="275281"/>
                    <a:pt x="416145" y="278043"/>
                    <a:pt x="417003" y="280710"/>
                  </a:cubicBezTo>
                  <a:cubicBezTo>
                    <a:pt x="417288" y="281663"/>
                    <a:pt x="417574" y="282615"/>
                    <a:pt x="417765" y="283473"/>
                  </a:cubicBezTo>
                  <a:cubicBezTo>
                    <a:pt x="418431" y="285663"/>
                    <a:pt x="418908" y="287949"/>
                    <a:pt x="419289" y="290140"/>
                  </a:cubicBezTo>
                  <a:cubicBezTo>
                    <a:pt x="419479" y="291093"/>
                    <a:pt x="419670" y="291950"/>
                    <a:pt x="419765" y="292902"/>
                  </a:cubicBezTo>
                  <a:cubicBezTo>
                    <a:pt x="420241" y="295950"/>
                    <a:pt x="420527" y="298903"/>
                    <a:pt x="420527" y="301856"/>
                  </a:cubicBezTo>
                  <a:lnTo>
                    <a:pt x="419003" y="829827"/>
                  </a:lnTo>
                  <a:cubicBezTo>
                    <a:pt x="419003" y="842590"/>
                    <a:pt x="414431" y="851639"/>
                    <a:pt x="407192" y="855830"/>
                  </a:cubicBezTo>
                  <a:lnTo>
                    <a:pt x="447483" y="832398"/>
                  </a:lnTo>
                  <a:cubicBezTo>
                    <a:pt x="454722" y="828207"/>
                    <a:pt x="459294" y="819159"/>
                    <a:pt x="459294" y="806395"/>
                  </a:cubicBezTo>
                  <a:lnTo>
                    <a:pt x="460818" y="278424"/>
                  </a:lnTo>
                  <a:cubicBezTo>
                    <a:pt x="460818" y="275472"/>
                    <a:pt x="460532" y="272519"/>
                    <a:pt x="460056" y="269471"/>
                  </a:cubicBezTo>
                  <a:lnTo>
                    <a:pt x="460056" y="269566"/>
                  </a:lnTo>
                  <a:close/>
                </a:path>
              </a:pathLst>
            </a:custGeom>
            <a:gradFill>
              <a:gsLst>
                <a:gs pos="0">
                  <a:srgbClr val="E6D1F2"/>
                </a:gs>
                <a:gs pos="65000">
                  <a:srgbClr val="A864CD"/>
                </a:gs>
                <a:gs pos="100000">
                  <a:srgbClr val="862EB5"/>
                </a:gs>
              </a:gsLst>
              <a:lin ang="503995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12B19990-FE1F-11DC-F099-3D94E5161827}"/>
                </a:ext>
              </a:extLst>
            </p:cNvPr>
            <p:cNvSpPr/>
            <p:nvPr/>
          </p:nvSpPr>
          <p:spPr>
            <a:xfrm>
              <a:off x="10079247" y="920205"/>
              <a:ext cx="433959" cy="835256"/>
            </a:xfrm>
            <a:custGeom>
              <a:avLst/>
              <a:gdLst>
                <a:gd name="connsiteX0" fmla="*/ 393573 w 433959"/>
                <a:gd name="connsiteY0" fmla="*/ 208536 h 835256"/>
                <a:gd name="connsiteX1" fmla="*/ 433959 w 433959"/>
                <a:gd name="connsiteY1" fmla="*/ 278545 h 835256"/>
                <a:gd name="connsiteX2" fmla="*/ 432435 w 433959"/>
                <a:gd name="connsiteY2" fmla="*/ 806515 h 835256"/>
                <a:gd name="connsiteX3" fmla="*/ 391764 w 433959"/>
                <a:gd name="connsiteY3" fmla="*/ 829661 h 835256"/>
                <a:gd name="connsiteX4" fmla="*/ 40386 w 433959"/>
                <a:gd name="connsiteY4" fmla="*/ 626779 h 835256"/>
                <a:gd name="connsiteX5" fmla="*/ 0 w 433959"/>
                <a:gd name="connsiteY5" fmla="*/ 556770 h 835256"/>
                <a:gd name="connsiteX6" fmla="*/ 1524 w 433959"/>
                <a:gd name="connsiteY6" fmla="*/ 28799 h 835256"/>
                <a:gd name="connsiteX7" fmla="*/ 42196 w 433959"/>
                <a:gd name="connsiteY7" fmla="*/ 5558 h 835256"/>
                <a:gd name="connsiteX8" fmla="*/ 393573 w 433959"/>
                <a:gd name="connsiteY8" fmla="*/ 208441 h 835256"/>
                <a:gd name="connsiteX9" fmla="*/ 393573 w 433959"/>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6">
                  <a:moveTo>
                    <a:pt x="393573" y="208536"/>
                  </a:moveTo>
                  <a:cubicBezTo>
                    <a:pt x="415957" y="221490"/>
                    <a:pt x="434055" y="252827"/>
                    <a:pt x="433959" y="278545"/>
                  </a:cubicBezTo>
                  <a:lnTo>
                    <a:pt x="432435" y="806515"/>
                  </a:lnTo>
                  <a:cubicBezTo>
                    <a:pt x="432435" y="832328"/>
                    <a:pt x="414147" y="842615"/>
                    <a:pt x="391764" y="829661"/>
                  </a:cubicBezTo>
                  <a:lnTo>
                    <a:pt x="40386" y="626779"/>
                  </a:lnTo>
                  <a:cubicBezTo>
                    <a:pt x="18003" y="613825"/>
                    <a:pt x="-95" y="582583"/>
                    <a:pt x="0" y="556770"/>
                  </a:cubicBezTo>
                  <a:lnTo>
                    <a:pt x="1524" y="28799"/>
                  </a:lnTo>
                  <a:cubicBezTo>
                    <a:pt x="1524" y="3082"/>
                    <a:pt x="19812" y="-7396"/>
                    <a:pt x="42196" y="5558"/>
                  </a:cubicBezTo>
                  <a:lnTo>
                    <a:pt x="393573" y="208441"/>
                  </a:lnTo>
                  <a:lnTo>
                    <a:pt x="393573" y="208536"/>
                  </a:lnTo>
                  <a:close/>
                </a:path>
              </a:pathLst>
            </a:custGeom>
            <a:gradFill>
              <a:gsLst>
                <a:gs pos="0">
                  <a:srgbClr val="68D6F7"/>
                </a:gs>
                <a:gs pos="95833">
                  <a:srgbClr val="32B0E7"/>
                </a:gs>
              </a:gsLst>
              <a:lin ang="2710855"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8CF7F55-85D0-D83A-B28B-83A08118A1DD}"/>
                </a:ext>
              </a:extLst>
            </p:cNvPr>
            <p:cNvSpPr/>
            <p:nvPr/>
          </p:nvSpPr>
          <p:spPr>
            <a:xfrm>
              <a:off x="10160782" y="1126039"/>
              <a:ext cx="270985" cy="423628"/>
            </a:xfrm>
            <a:custGeom>
              <a:avLst/>
              <a:gdLst>
                <a:gd name="connsiteX0" fmla="*/ 257460 w 270985"/>
                <a:gd name="connsiteY0" fmla="*/ 173295 h 423628"/>
                <a:gd name="connsiteX1" fmla="*/ 14192 w 270985"/>
                <a:gd name="connsiteY1" fmla="*/ 32897 h 423628"/>
                <a:gd name="connsiteX2" fmla="*/ 762 w 270985"/>
                <a:gd name="connsiteY2" fmla="*/ 9561 h 423628"/>
                <a:gd name="connsiteX3" fmla="*/ 14288 w 270985"/>
                <a:gd name="connsiteY3" fmla="*/ 1845 h 423628"/>
                <a:gd name="connsiteX4" fmla="*/ 257555 w 270985"/>
                <a:gd name="connsiteY4" fmla="*/ 142244 h 423628"/>
                <a:gd name="connsiteX5" fmla="*/ 270985 w 270985"/>
                <a:gd name="connsiteY5" fmla="*/ 165580 h 423628"/>
                <a:gd name="connsiteX6" fmla="*/ 257460 w 270985"/>
                <a:gd name="connsiteY6" fmla="*/ 173295 h 423628"/>
                <a:gd name="connsiteX7" fmla="*/ 257174 w 270985"/>
                <a:gd name="connsiteY7" fmla="*/ 266449 h 423628"/>
                <a:gd name="connsiteX8" fmla="*/ 13907 w 270985"/>
                <a:gd name="connsiteY8" fmla="*/ 126050 h 423628"/>
                <a:gd name="connsiteX9" fmla="*/ 381 w 270985"/>
                <a:gd name="connsiteY9" fmla="*/ 133861 h 423628"/>
                <a:gd name="connsiteX10" fmla="*/ 13811 w 270985"/>
                <a:gd name="connsiteY10" fmla="*/ 157197 h 423628"/>
                <a:gd name="connsiteX11" fmla="*/ 257079 w 270985"/>
                <a:gd name="connsiteY11" fmla="*/ 297596 h 423628"/>
                <a:gd name="connsiteX12" fmla="*/ 270604 w 270985"/>
                <a:gd name="connsiteY12" fmla="*/ 289880 h 423628"/>
                <a:gd name="connsiteX13" fmla="*/ 257174 w 270985"/>
                <a:gd name="connsiteY13" fmla="*/ 266544 h 423628"/>
                <a:gd name="connsiteX14" fmla="*/ 257174 w 270985"/>
                <a:gd name="connsiteY14" fmla="*/ 266449 h 423628"/>
                <a:gd name="connsiteX15" fmla="*/ 256793 w 270985"/>
                <a:gd name="connsiteY15" fmla="*/ 390751 h 423628"/>
                <a:gd name="connsiteX16" fmla="*/ 13526 w 270985"/>
                <a:gd name="connsiteY16" fmla="*/ 250353 h 423628"/>
                <a:gd name="connsiteX17" fmla="*/ 0 w 270985"/>
                <a:gd name="connsiteY17" fmla="*/ 258068 h 423628"/>
                <a:gd name="connsiteX18" fmla="*/ 13430 w 270985"/>
                <a:gd name="connsiteY18" fmla="*/ 281404 h 423628"/>
                <a:gd name="connsiteX19" fmla="*/ 256698 w 270985"/>
                <a:gd name="connsiteY19" fmla="*/ 421803 h 423628"/>
                <a:gd name="connsiteX20" fmla="*/ 270223 w 270985"/>
                <a:gd name="connsiteY20" fmla="*/ 413992 h 423628"/>
                <a:gd name="connsiteX21" fmla="*/ 256793 w 270985"/>
                <a:gd name="connsiteY21" fmla="*/ 390656 h 423628"/>
                <a:gd name="connsiteX22" fmla="*/ 256793 w 270985"/>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5" h="423628">
                  <a:moveTo>
                    <a:pt x="257460" y="173295"/>
                  </a:moveTo>
                  <a:lnTo>
                    <a:pt x="14192" y="32897"/>
                  </a:lnTo>
                  <a:cubicBezTo>
                    <a:pt x="6763" y="28515"/>
                    <a:pt x="762" y="18133"/>
                    <a:pt x="762" y="9561"/>
                  </a:cubicBezTo>
                  <a:cubicBezTo>
                    <a:pt x="762" y="988"/>
                    <a:pt x="6763" y="-2441"/>
                    <a:pt x="14288" y="1845"/>
                  </a:cubicBezTo>
                  <a:lnTo>
                    <a:pt x="257555" y="142244"/>
                  </a:lnTo>
                  <a:cubicBezTo>
                    <a:pt x="264985" y="146625"/>
                    <a:pt x="270985" y="157008"/>
                    <a:pt x="270985" y="165580"/>
                  </a:cubicBezTo>
                  <a:cubicBezTo>
                    <a:pt x="270985" y="174057"/>
                    <a:pt x="264985" y="177582"/>
                    <a:pt x="257460" y="173295"/>
                  </a:cubicBezTo>
                  <a:close/>
                  <a:moveTo>
                    <a:pt x="257174" y="266449"/>
                  </a:moveTo>
                  <a:lnTo>
                    <a:pt x="13907" y="126050"/>
                  </a:lnTo>
                  <a:cubicBezTo>
                    <a:pt x="6382" y="121764"/>
                    <a:pt x="381" y="125288"/>
                    <a:pt x="381" y="133861"/>
                  </a:cubicBezTo>
                  <a:cubicBezTo>
                    <a:pt x="381" y="142433"/>
                    <a:pt x="6382" y="152816"/>
                    <a:pt x="13811" y="157197"/>
                  </a:cubicBezTo>
                  <a:lnTo>
                    <a:pt x="257079" y="297596"/>
                  </a:lnTo>
                  <a:cubicBezTo>
                    <a:pt x="264604" y="301882"/>
                    <a:pt x="270604" y="298358"/>
                    <a:pt x="270604" y="289880"/>
                  </a:cubicBezTo>
                  <a:cubicBezTo>
                    <a:pt x="270604" y="281308"/>
                    <a:pt x="264604" y="270830"/>
                    <a:pt x="257174" y="266544"/>
                  </a:cubicBezTo>
                  <a:lnTo>
                    <a:pt x="257174" y="266449"/>
                  </a:lnTo>
                  <a:close/>
                  <a:moveTo>
                    <a:pt x="256793" y="390751"/>
                  </a:moveTo>
                  <a:lnTo>
                    <a:pt x="13526" y="250353"/>
                  </a:lnTo>
                  <a:cubicBezTo>
                    <a:pt x="6001" y="246066"/>
                    <a:pt x="0" y="249591"/>
                    <a:pt x="0" y="258068"/>
                  </a:cubicBezTo>
                  <a:cubicBezTo>
                    <a:pt x="0" y="266640"/>
                    <a:pt x="6001" y="277118"/>
                    <a:pt x="13430" y="281404"/>
                  </a:cubicBezTo>
                  <a:lnTo>
                    <a:pt x="256698" y="421803"/>
                  </a:lnTo>
                  <a:cubicBezTo>
                    <a:pt x="264223" y="426089"/>
                    <a:pt x="270223" y="422565"/>
                    <a:pt x="270223" y="413992"/>
                  </a:cubicBezTo>
                  <a:cubicBezTo>
                    <a:pt x="270223" y="405420"/>
                    <a:pt x="264223" y="395037"/>
                    <a:pt x="256793" y="390656"/>
                  </a:cubicBezTo>
                  <a:lnTo>
                    <a:pt x="256793" y="390751"/>
                  </a:lnTo>
                  <a:close/>
                </a:path>
              </a:pathLst>
            </a:custGeom>
            <a:solidFill>
              <a:srgbClr val="C9F0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CC65C56-4F8B-C1B7-4E93-615B8B9D1544}"/>
                </a:ext>
              </a:extLst>
            </p:cNvPr>
            <p:cNvSpPr/>
            <p:nvPr/>
          </p:nvSpPr>
          <p:spPr>
            <a:xfrm>
              <a:off x="10092775" y="896799"/>
              <a:ext cx="460817" cy="855829"/>
            </a:xfrm>
            <a:custGeom>
              <a:avLst/>
              <a:gdLst>
                <a:gd name="connsiteX0" fmla="*/ 460056 w 460817"/>
                <a:gd name="connsiteY0" fmla="*/ 269566 h 855829"/>
                <a:gd name="connsiteX1" fmla="*/ 459579 w 460817"/>
                <a:gd name="connsiteY1" fmla="*/ 266804 h 855829"/>
                <a:gd name="connsiteX2" fmla="*/ 458055 w 460817"/>
                <a:gd name="connsiteY2" fmla="*/ 260136 h 855829"/>
                <a:gd name="connsiteX3" fmla="*/ 457293 w 460817"/>
                <a:gd name="connsiteY3" fmla="*/ 257279 h 855829"/>
                <a:gd name="connsiteX4" fmla="*/ 454341 w 460817"/>
                <a:gd name="connsiteY4" fmla="*/ 249183 h 855829"/>
                <a:gd name="connsiteX5" fmla="*/ 453960 w 460817"/>
                <a:gd name="connsiteY5" fmla="*/ 248135 h 855829"/>
                <a:gd name="connsiteX6" fmla="*/ 453960 w 460817"/>
                <a:gd name="connsiteY6" fmla="*/ 247944 h 855829"/>
                <a:gd name="connsiteX7" fmla="*/ 449578 w 460817"/>
                <a:gd name="connsiteY7" fmla="*/ 239562 h 855829"/>
                <a:gd name="connsiteX8" fmla="*/ 448340 w 460817"/>
                <a:gd name="connsiteY8" fmla="*/ 237467 h 855829"/>
                <a:gd name="connsiteX9" fmla="*/ 443577 w 460817"/>
                <a:gd name="connsiteY9" fmla="*/ 230228 h 855829"/>
                <a:gd name="connsiteX10" fmla="*/ 442911 w 460817"/>
                <a:gd name="connsiteY10" fmla="*/ 229275 h 855829"/>
                <a:gd name="connsiteX11" fmla="*/ 438148 w 460817"/>
                <a:gd name="connsiteY11" fmla="*/ 223275 h 855829"/>
                <a:gd name="connsiteX12" fmla="*/ 436815 w 460817"/>
                <a:gd name="connsiteY12" fmla="*/ 221846 h 855829"/>
                <a:gd name="connsiteX13" fmla="*/ 435672 w 460817"/>
                <a:gd name="connsiteY13" fmla="*/ 220608 h 855829"/>
                <a:gd name="connsiteX14" fmla="*/ 429004 w 460817"/>
                <a:gd name="connsiteY14" fmla="*/ 214416 h 855829"/>
                <a:gd name="connsiteX15" fmla="*/ 427956 w 460817"/>
                <a:gd name="connsiteY15" fmla="*/ 213654 h 855829"/>
                <a:gd name="connsiteX16" fmla="*/ 420432 w 460817"/>
                <a:gd name="connsiteY16" fmla="*/ 208416 h 855829"/>
                <a:gd name="connsiteX17" fmla="*/ 69056 w 460817"/>
                <a:gd name="connsiteY17" fmla="*/ 5533 h 855829"/>
                <a:gd name="connsiteX18" fmla="*/ 40291 w 460817"/>
                <a:gd name="connsiteY18" fmla="*/ 2676 h 855829"/>
                <a:gd name="connsiteX19" fmla="*/ 0 w 460817"/>
                <a:gd name="connsiteY19" fmla="*/ 26107 h 855829"/>
                <a:gd name="connsiteX20" fmla="*/ 28766 w 460817"/>
                <a:gd name="connsiteY20" fmla="*/ 28965 h 855829"/>
                <a:gd name="connsiteX21" fmla="*/ 380141 w 460817"/>
                <a:gd name="connsiteY21" fmla="*/ 231847 h 855829"/>
                <a:gd name="connsiteX22" fmla="*/ 387666 w 460817"/>
                <a:gd name="connsiteY22" fmla="*/ 237086 h 855829"/>
                <a:gd name="connsiteX23" fmla="*/ 388618 w 460817"/>
                <a:gd name="connsiteY23" fmla="*/ 237848 h 855829"/>
                <a:gd name="connsiteX24" fmla="*/ 395286 w 460817"/>
                <a:gd name="connsiteY24" fmla="*/ 244039 h 855829"/>
                <a:gd name="connsiteX25" fmla="*/ 396429 w 460817"/>
                <a:gd name="connsiteY25" fmla="*/ 245277 h 855829"/>
                <a:gd name="connsiteX26" fmla="*/ 402620 w 460817"/>
                <a:gd name="connsiteY26" fmla="*/ 252707 h 855829"/>
                <a:gd name="connsiteX27" fmla="*/ 403287 w 460817"/>
                <a:gd name="connsiteY27" fmla="*/ 253659 h 855829"/>
                <a:gd name="connsiteX28" fmla="*/ 408049 w 460817"/>
                <a:gd name="connsiteY28" fmla="*/ 260994 h 855829"/>
                <a:gd name="connsiteX29" fmla="*/ 409287 w 460817"/>
                <a:gd name="connsiteY29" fmla="*/ 263089 h 855829"/>
                <a:gd name="connsiteX30" fmla="*/ 413669 w 460817"/>
                <a:gd name="connsiteY30" fmla="*/ 271662 h 855829"/>
                <a:gd name="connsiteX31" fmla="*/ 414050 w 460817"/>
                <a:gd name="connsiteY31" fmla="*/ 272614 h 855829"/>
                <a:gd name="connsiteX32" fmla="*/ 417003 w 460817"/>
                <a:gd name="connsiteY32" fmla="*/ 280710 h 855829"/>
                <a:gd name="connsiteX33" fmla="*/ 417765 w 460817"/>
                <a:gd name="connsiteY33" fmla="*/ 283473 h 855829"/>
                <a:gd name="connsiteX34" fmla="*/ 419289 w 460817"/>
                <a:gd name="connsiteY34" fmla="*/ 290140 h 855829"/>
                <a:gd name="connsiteX35" fmla="*/ 419765 w 460817"/>
                <a:gd name="connsiteY35" fmla="*/ 292902 h 855829"/>
                <a:gd name="connsiteX36" fmla="*/ 420527 w 460817"/>
                <a:gd name="connsiteY36" fmla="*/ 301856 h 855829"/>
                <a:gd name="connsiteX37" fmla="*/ 419003 w 460817"/>
                <a:gd name="connsiteY37" fmla="*/ 829827 h 855829"/>
                <a:gd name="connsiteX38" fmla="*/ 407192 w 460817"/>
                <a:gd name="connsiteY38" fmla="*/ 855830 h 855829"/>
                <a:gd name="connsiteX39" fmla="*/ 447483 w 460817"/>
                <a:gd name="connsiteY39" fmla="*/ 832398 h 855829"/>
                <a:gd name="connsiteX40" fmla="*/ 459294 w 460817"/>
                <a:gd name="connsiteY40" fmla="*/ 806395 h 855829"/>
                <a:gd name="connsiteX41" fmla="*/ 460818 w 460817"/>
                <a:gd name="connsiteY41" fmla="*/ 278424 h 855829"/>
                <a:gd name="connsiteX42" fmla="*/ 460056 w 460817"/>
                <a:gd name="connsiteY42" fmla="*/ 269471 h 855829"/>
                <a:gd name="connsiteX43" fmla="*/ 460056 w 460817"/>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29">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6" y="218417"/>
                    <a:pt x="431290" y="216321"/>
                    <a:pt x="429004" y="214416"/>
                  </a:cubicBezTo>
                  <a:cubicBezTo>
                    <a:pt x="428623" y="214131"/>
                    <a:pt x="428337" y="213940"/>
                    <a:pt x="427956" y="213654"/>
                  </a:cubicBezTo>
                  <a:cubicBezTo>
                    <a:pt x="425480" y="211749"/>
                    <a:pt x="423003" y="209940"/>
                    <a:pt x="420432" y="208416"/>
                  </a:cubicBezTo>
                  <a:lnTo>
                    <a:pt x="69056" y="5533"/>
                  </a:lnTo>
                  <a:cubicBezTo>
                    <a:pt x="57817" y="-944"/>
                    <a:pt x="47625" y="-1515"/>
                    <a:pt x="40291" y="2676"/>
                  </a:cubicBezTo>
                  <a:lnTo>
                    <a:pt x="0" y="26107"/>
                  </a:lnTo>
                  <a:cubicBezTo>
                    <a:pt x="7334" y="21821"/>
                    <a:pt x="17526" y="22392"/>
                    <a:pt x="28766" y="28965"/>
                  </a:cubicBezTo>
                  <a:lnTo>
                    <a:pt x="380141" y="231847"/>
                  </a:lnTo>
                  <a:cubicBezTo>
                    <a:pt x="382713" y="233371"/>
                    <a:pt x="385189" y="235086"/>
                    <a:pt x="387666" y="237086"/>
                  </a:cubicBezTo>
                  <a:cubicBezTo>
                    <a:pt x="387951" y="237372"/>
                    <a:pt x="388332" y="237562"/>
                    <a:pt x="388618" y="237848"/>
                  </a:cubicBezTo>
                  <a:cubicBezTo>
                    <a:pt x="390904" y="239753"/>
                    <a:pt x="393095" y="241848"/>
                    <a:pt x="395286" y="244039"/>
                  </a:cubicBezTo>
                  <a:cubicBezTo>
                    <a:pt x="395667" y="244420"/>
                    <a:pt x="396048" y="244896"/>
                    <a:pt x="396429" y="245277"/>
                  </a:cubicBezTo>
                  <a:cubicBezTo>
                    <a:pt x="398619" y="247659"/>
                    <a:pt x="400715" y="250135"/>
                    <a:pt x="402620" y="252707"/>
                  </a:cubicBezTo>
                  <a:cubicBezTo>
                    <a:pt x="402810" y="252993"/>
                    <a:pt x="403001" y="253278"/>
                    <a:pt x="403287" y="253659"/>
                  </a:cubicBezTo>
                  <a:cubicBezTo>
                    <a:pt x="405001" y="256041"/>
                    <a:pt x="406525" y="258422"/>
                    <a:pt x="408049" y="260994"/>
                  </a:cubicBezTo>
                  <a:cubicBezTo>
                    <a:pt x="408430" y="261660"/>
                    <a:pt x="408906" y="262422"/>
                    <a:pt x="409287" y="263089"/>
                  </a:cubicBezTo>
                  <a:cubicBezTo>
                    <a:pt x="410907" y="265947"/>
                    <a:pt x="412335" y="268804"/>
                    <a:pt x="413669" y="271662"/>
                  </a:cubicBezTo>
                  <a:cubicBezTo>
                    <a:pt x="413764" y="271947"/>
                    <a:pt x="413955" y="272328"/>
                    <a:pt x="414050" y="272614"/>
                  </a:cubicBezTo>
                  <a:cubicBezTo>
                    <a:pt x="415193" y="275281"/>
                    <a:pt x="416145" y="278043"/>
                    <a:pt x="417003" y="280710"/>
                  </a:cubicBezTo>
                  <a:cubicBezTo>
                    <a:pt x="417288" y="281663"/>
                    <a:pt x="417574" y="282615"/>
                    <a:pt x="417765" y="283473"/>
                  </a:cubicBezTo>
                  <a:cubicBezTo>
                    <a:pt x="418431" y="285663"/>
                    <a:pt x="418908" y="287949"/>
                    <a:pt x="419289" y="290140"/>
                  </a:cubicBezTo>
                  <a:cubicBezTo>
                    <a:pt x="419479" y="291093"/>
                    <a:pt x="419670" y="291950"/>
                    <a:pt x="419765" y="292902"/>
                  </a:cubicBezTo>
                  <a:cubicBezTo>
                    <a:pt x="420241" y="295950"/>
                    <a:pt x="420527" y="298903"/>
                    <a:pt x="420527" y="301856"/>
                  </a:cubicBezTo>
                  <a:lnTo>
                    <a:pt x="419003" y="829827"/>
                  </a:lnTo>
                  <a:cubicBezTo>
                    <a:pt x="419003" y="842590"/>
                    <a:pt x="414431" y="851639"/>
                    <a:pt x="407192" y="855830"/>
                  </a:cubicBezTo>
                  <a:lnTo>
                    <a:pt x="447483" y="832398"/>
                  </a:lnTo>
                  <a:cubicBezTo>
                    <a:pt x="454722" y="828207"/>
                    <a:pt x="459294" y="819159"/>
                    <a:pt x="459294" y="806395"/>
                  </a:cubicBezTo>
                  <a:lnTo>
                    <a:pt x="460818" y="278424"/>
                  </a:lnTo>
                  <a:cubicBezTo>
                    <a:pt x="460818" y="275472"/>
                    <a:pt x="460532" y="272519"/>
                    <a:pt x="460056" y="269471"/>
                  </a:cubicBezTo>
                  <a:lnTo>
                    <a:pt x="460056" y="269566"/>
                  </a:lnTo>
                  <a:close/>
                </a:path>
              </a:pathLst>
            </a:custGeom>
            <a:gradFill>
              <a:gsLst>
                <a:gs pos="0">
                  <a:srgbClr val="2081D4"/>
                </a:gs>
                <a:gs pos="47917">
                  <a:srgbClr val="45CAF2"/>
                </a:gs>
                <a:gs pos="100000">
                  <a:srgbClr val="8CEFFF"/>
                </a:gs>
              </a:gsLst>
              <a:lin ang="1620000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4723959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4D84F-3A97-45BB-A660-80A615D5EC3D}"/>
              </a:ext>
            </a:extLst>
          </p:cNvPr>
          <p:cNvSpPr>
            <a:spLocks noGrp="1"/>
          </p:cNvSpPr>
          <p:nvPr>
            <p:ph type="title"/>
          </p:nvPr>
        </p:nvSpPr>
        <p:spPr>
          <a:xfrm>
            <a:off x="838200" y="365125"/>
            <a:ext cx="10515600" cy="858461"/>
          </a:xfrm>
        </p:spPr>
        <p:txBody>
          <a:bodyPr/>
          <a:lstStyle/>
          <a:p>
            <a:r>
              <a:rPr lang="en-IE" dirty="0"/>
              <a:t>High Level Data Flow</a:t>
            </a:r>
          </a:p>
        </p:txBody>
      </p:sp>
      <p:pic>
        <p:nvPicPr>
          <p:cNvPr id="7" name="Picture 6">
            <a:extLst>
              <a:ext uri="{FF2B5EF4-FFF2-40B4-BE49-F238E27FC236}">
                <a16:creationId xmlns:a16="http://schemas.microsoft.com/office/drawing/2014/main" id="{DDF74D01-048D-4629-BDD5-D9A3CBD8C1E4}"/>
              </a:ext>
            </a:extLst>
          </p:cNvPr>
          <p:cNvPicPr>
            <a:picLocks noChangeAspect="1"/>
          </p:cNvPicPr>
          <p:nvPr/>
        </p:nvPicPr>
        <p:blipFill>
          <a:blip r:embed="rId3"/>
          <a:stretch>
            <a:fillRect/>
          </a:stretch>
        </p:blipFill>
        <p:spPr>
          <a:xfrm>
            <a:off x="838200" y="1501797"/>
            <a:ext cx="10374918" cy="4372729"/>
          </a:xfrm>
          <a:prstGeom prst="rect">
            <a:avLst/>
          </a:prstGeom>
        </p:spPr>
      </p:pic>
    </p:spTree>
    <p:extLst>
      <p:ext uri="{BB962C8B-B14F-4D97-AF65-F5344CB8AC3E}">
        <p14:creationId xmlns:p14="http://schemas.microsoft.com/office/powerpoint/2010/main" val="1681787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7FF3E-BFBC-30DC-7FB0-D535535EB38C}"/>
              </a:ext>
            </a:extLst>
          </p:cNvPr>
          <p:cNvSpPr>
            <a:spLocks noGrp="1"/>
          </p:cNvSpPr>
          <p:nvPr>
            <p:ph type="title"/>
          </p:nvPr>
        </p:nvSpPr>
        <p:spPr>
          <a:xfrm>
            <a:off x="838200" y="365125"/>
            <a:ext cx="5179964" cy="1325563"/>
          </a:xfrm>
        </p:spPr>
        <p:txBody>
          <a:bodyPr/>
          <a:lstStyle/>
          <a:p>
            <a:r>
              <a:rPr lang="en-IE" dirty="0"/>
              <a:t>Overview</a:t>
            </a:r>
          </a:p>
        </p:txBody>
      </p:sp>
      <p:sp>
        <p:nvSpPr>
          <p:cNvPr id="3" name="Content Placeholder 2">
            <a:extLst>
              <a:ext uri="{FF2B5EF4-FFF2-40B4-BE49-F238E27FC236}">
                <a16:creationId xmlns:a16="http://schemas.microsoft.com/office/drawing/2014/main" id="{862A01F2-BEDE-76A5-DAC8-520AE2E611F3}"/>
              </a:ext>
            </a:extLst>
          </p:cNvPr>
          <p:cNvSpPr>
            <a:spLocks noGrp="1"/>
          </p:cNvSpPr>
          <p:nvPr>
            <p:ph idx="1"/>
          </p:nvPr>
        </p:nvSpPr>
        <p:spPr>
          <a:xfrm>
            <a:off x="838200" y="1825625"/>
            <a:ext cx="5093296" cy="4351338"/>
          </a:xfrm>
        </p:spPr>
        <p:txBody>
          <a:bodyPr>
            <a:normAutofit lnSpcReduction="10000"/>
          </a:bodyPr>
          <a:lstStyle/>
          <a:p>
            <a:endParaRPr lang="en-IE" dirty="0"/>
          </a:p>
          <a:p>
            <a:endParaRPr lang="en-IE" dirty="0"/>
          </a:p>
          <a:p>
            <a:endParaRPr lang="en-IE" dirty="0"/>
          </a:p>
          <a:p>
            <a:endParaRPr lang="en-IE" dirty="0"/>
          </a:p>
          <a:p>
            <a:endParaRPr lang="en-IE" dirty="0"/>
          </a:p>
          <a:p>
            <a:endParaRPr lang="en-IE" dirty="0"/>
          </a:p>
          <a:p>
            <a:endParaRPr lang="en-IE" dirty="0"/>
          </a:p>
          <a:p>
            <a:r>
              <a:rPr lang="en-IE" dirty="0">
                <a:hlinkClick r:id="rId3"/>
              </a:rPr>
              <a:t>Link </a:t>
            </a:r>
            <a:endParaRPr lang="en-IE" dirty="0"/>
          </a:p>
          <a:p>
            <a:r>
              <a:rPr lang="en-IE" dirty="0">
                <a:hlinkClick r:id="rId4"/>
              </a:rPr>
              <a:t>Pricing</a:t>
            </a:r>
            <a:endParaRPr lang="en-IE" dirty="0"/>
          </a:p>
          <a:p>
            <a:endParaRPr lang="en-IE" dirty="0"/>
          </a:p>
        </p:txBody>
      </p:sp>
      <p:pic>
        <p:nvPicPr>
          <p:cNvPr id="5" name="Picture 4">
            <a:extLst>
              <a:ext uri="{FF2B5EF4-FFF2-40B4-BE49-F238E27FC236}">
                <a16:creationId xmlns:a16="http://schemas.microsoft.com/office/drawing/2014/main" id="{FB146AB4-81D4-8948-8962-C9BDB3F8BC40}"/>
              </a:ext>
            </a:extLst>
          </p:cNvPr>
          <p:cNvPicPr>
            <a:picLocks noChangeAspect="1"/>
          </p:cNvPicPr>
          <p:nvPr/>
        </p:nvPicPr>
        <p:blipFill>
          <a:blip r:embed="rId5"/>
          <a:stretch>
            <a:fillRect/>
          </a:stretch>
        </p:blipFill>
        <p:spPr>
          <a:xfrm>
            <a:off x="6260505" y="365125"/>
            <a:ext cx="5179964" cy="62303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91220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0B048-5675-456D-9A45-4DA31713AE20}"/>
              </a:ext>
            </a:extLst>
          </p:cNvPr>
          <p:cNvSpPr>
            <a:spLocks noGrp="1"/>
          </p:cNvSpPr>
          <p:nvPr>
            <p:ph type="title"/>
          </p:nvPr>
        </p:nvSpPr>
        <p:spPr>
          <a:xfrm>
            <a:off x="838200" y="365126"/>
            <a:ext cx="10515600" cy="702894"/>
          </a:xfrm>
        </p:spPr>
        <p:txBody>
          <a:bodyPr/>
          <a:lstStyle/>
          <a:p>
            <a:r>
              <a:rPr lang="en-IE" dirty="0"/>
              <a:t>Azure Speech Services</a:t>
            </a:r>
          </a:p>
        </p:txBody>
      </p:sp>
      <p:sp>
        <p:nvSpPr>
          <p:cNvPr id="3" name="Content Placeholder 2">
            <a:extLst>
              <a:ext uri="{FF2B5EF4-FFF2-40B4-BE49-F238E27FC236}">
                <a16:creationId xmlns:a16="http://schemas.microsoft.com/office/drawing/2014/main" id="{59CEF2BB-F28B-4401-91F5-0E95107C8BF4}"/>
              </a:ext>
            </a:extLst>
          </p:cNvPr>
          <p:cNvSpPr>
            <a:spLocks noGrp="1"/>
          </p:cNvSpPr>
          <p:nvPr>
            <p:ph idx="1"/>
          </p:nvPr>
        </p:nvSpPr>
        <p:spPr>
          <a:xfrm>
            <a:off x="304365" y="1210550"/>
            <a:ext cx="7758321" cy="5282323"/>
          </a:xfrm>
        </p:spPr>
        <p:txBody>
          <a:bodyPr>
            <a:normAutofit fontScale="92500" lnSpcReduction="10000"/>
          </a:bodyPr>
          <a:lstStyle/>
          <a:p>
            <a:r>
              <a:rPr lang="en-GB" b="1" dirty="0"/>
              <a:t>Speech-to-Text</a:t>
            </a:r>
            <a:r>
              <a:rPr lang="en-GB" dirty="0"/>
              <a:t>: state-of-the-art speech recognition that can be used in real-time or for batch transcription, supporting multiple languages and locales, including customization options for specific use-cases. </a:t>
            </a:r>
          </a:p>
          <a:p>
            <a:r>
              <a:rPr lang="en-GB" b="1" dirty="0"/>
              <a:t>Text-to-Speech</a:t>
            </a:r>
            <a:r>
              <a:rPr lang="en-GB" dirty="0"/>
              <a:t>: high-quality text-to-speech services through standard and neural voice model that closely resemble human voices. </a:t>
            </a:r>
          </a:p>
          <a:p>
            <a:r>
              <a:rPr lang="en-GB" b="1" dirty="0"/>
              <a:t>Speech Translation</a:t>
            </a:r>
            <a:r>
              <a:rPr lang="en-GB" dirty="0"/>
              <a:t>: real-time speech translation, facilitating communication in customer support and other interactive scenarios. </a:t>
            </a:r>
          </a:p>
          <a:p>
            <a:r>
              <a:rPr lang="en-GB" b="1" dirty="0"/>
              <a:t>Voice Interaction</a:t>
            </a:r>
            <a:r>
              <a:rPr lang="en-GB" dirty="0"/>
              <a:t>: Core speech capabilities for voice-in/voice-out conversational interaction, available over phone lines through Azure Speech Telephony service. </a:t>
            </a:r>
          </a:p>
        </p:txBody>
      </p:sp>
      <p:pic>
        <p:nvPicPr>
          <p:cNvPr id="5" name="Graphic 4">
            <a:extLst>
              <a:ext uri="{FF2B5EF4-FFF2-40B4-BE49-F238E27FC236}">
                <a16:creationId xmlns:a16="http://schemas.microsoft.com/office/drawing/2014/main" id="{2C0CC06A-66EE-443F-AF6F-CC7CD9A135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6502" y="1913616"/>
            <a:ext cx="2589439" cy="2589439"/>
          </a:xfrm>
          <a:prstGeom prst="rect">
            <a:avLst/>
          </a:prstGeom>
        </p:spPr>
      </p:pic>
    </p:spTree>
    <p:extLst>
      <p:ext uri="{BB962C8B-B14F-4D97-AF65-F5344CB8AC3E}">
        <p14:creationId xmlns:p14="http://schemas.microsoft.com/office/powerpoint/2010/main" val="3890171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Black Template">
  <a:themeElements>
    <a:clrScheme name="Custom 47">
      <a:dk1>
        <a:srgbClr val="000000"/>
      </a:dk1>
      <a:lt1>
        <a:srgbClr val="FFFFFF"/>
      </a:lt1>
      <a:dk2>
        <a:srgbClr val="243A5E"/>
      </a:dk2>
      <a:lt2>
        <a:srgbClr val="E6E6E6"/>
      </a:lt2>
      <a:accent1>
        <a:srgbClr val="8DC8E8"/>
      </a:accent1>
      <a:accent2>
        <a:srgbClr val="0078D4"/>
      </a:accent2>
      <a:accent3>
        <a:srgbClr val="8661C5"/>
      </a:accent3>
      <a:accent4>
        <a:srgbClr val="89DCD2"/>
      </a:accent4>
      <a:accent5>
        <a:srgbClr val="49C5B1"/>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Microsoft template BLUE Accent_10-20.potx" id="{F01277AF-1A8D-41A0-B067-1339D077BC61}" vid="{72CF6010-3B93-4181-8628-D01C322C0AA1}"/>
    </a:ext>
  </a:extLst>
</a:theme>
</file>

<file path=ppt/theme/theme5.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8.xml><?xml version="1.0" encoding="utf-8"?>
<a:theme xmlns:a="http://schemas.openxmlformats.org/drawingml/2006/main" name="3_Cognitive Services 2021">
  <a:themeElements>
    <a:clrScheme name="Cognitive Services Dark Theme">
      <a:dk1>
        <a:srgbClr val="000000"/>
      </a:dk1>
      <a:lt1>
        <a:srgbClr val="FFFFFF"/>
      </a:lt1>
      <a:dk2>
        <a:srgbClr val="2F2F2F"/>
      </a:dk2>
      <a:lt2>
        <a:srgbClr val="FFFFFF"/>
      </a:lt2>
      <a:accent1>
        <a:srgbClr val="0078D4"/>
      </a:accent1>
      <a:accent2>
        <a:srgbClr val="50E6FF"/>
      </a:accent2>
      <a:accent3>
        <a:srgbClr val="243A5E"/>
      </a:accent3>
      <a:accent4>
        <a:srgbClr val="9BF00B"/>
      </a:accent4>
      <a:accent5>
        <a:srgbClr val="FFB900"/>
      </a:accent5>
      <a:accent6>
        <a:srgbClr val="D83B01"/>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rgbClr val="9BF00B"/>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21 Azure Cognitive Services Template" id="{0C4EEE91-8EF2-4D7B-8940-323462601D8B}" vid="{E8926034-CE69-42FA-A0F3-401A89224EE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06</TotalTime>
  <Words>3957</Words>
  <Application>Microsoft Office PowerPoint</Application>
  <PresentationFormat>Widescreen</PresentationFormat>
  <Paragraphs>556</Paragraphs>
  <Slides>30</Slides>
  <Notes>19</Notes>
  <HiddenSlides>1</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30</vt:i4>
      </vt:variant>
    </vt:vector>
  </HeadingPairs>
  <TitlesOfParts>
    <vt:vector size="56" baseType="lpstr">
      <vt:lpstr>Aptos</vt:lpstr>
      <vt:lpstr>Aptos Display</vt:lpstr>
      <vt:lpstr>Arial</vt:lpstr>
      <vt:lpstr>Artefakkt Light</vt:lpstr>
      <vt:lpstr>Calibri</vt:lpstr>
      <vt:lpstr>Calibri Light</vt:lpstr>
      <vt:lpstr>Cascadia Code</vt:lpstr>
      <vt:lpstr>Consolas</vt:lpstr>
      <vt:lpstr>Segoe UI</vt:lpstr>
      <vt:lpstr>Segoe UI </vt:lpstr>
      <vt:lpstr>Segoe UI Semibold</vt:lpstr>
      <vt:lpstr>Segoe UI Semibold 8</vt:lpstr>
      <vt:lpstr>Segoe UI Variable Display</vt:lpstr>
      <vt:lpstr>Segoe UI Variable Display Semibold</vt:lpstr>
      <vt:lpstr>Segoe UI Variable Text</vt:lpstr>
      <vt:lpstr>Söhne</vt:lpstr>
      <vt:lpstr>Wingdings</vt:lpstr>
      <vt:lpstr>Office Theme</vt:lpstr>
      <vt:lpstr>5_Black Template</vt:lpstr>
      <vt:lpstr>4_Azure black</vt:lpstr>
      <vt:lpstr>1_White Template</vt:lpstr>
      <vt:lpstr>3_Black Template</vt:lpstr>
      <vt:lpstr>1_Office Theme</vt:lpstr>
      <vt:lpstr>1_Microsoft 365 PPT Template - 2018</vt:lpstr>
      <vt:lpstr>3_Cognitive Services 2021</vt:lpstr>
      <vt:lpstr>think-cell Slide</vt:lpstr>
      <vt:lpstr>Azure AI Services</vt:lpstr>
      <vt:lpstr>Agenda</vt:lpstr>
      <vt:lpstr>PowerPoint Presentation</vt:lpstr>
      <vt:lpstr>Feedback</vt:lpstr>
      <vt:lpstr>Microsoft Portfolio for AI</vt:lpstr>
      <vt:lpstr>Cognitive Service for Language</vt:lpstr>
      <vt:lpstr>High Level Data Flow</vt:lpstr>
      <vt:lpstr>Overview</vt:lpstr>
      <vt:lpstr>Azure Speech Services</vt:lpstr>
      <vt:lpstr>Azure Speech Services – Industry Scenarios</vt:lpstr>
      <vt:lpstr>Azure Speech Service Pricing (Apr’24, NE)</vt:lpstr>
      <vt:lpstr>Azure OpenAI Services</vt:lpstr>
      <vt:lpstr>Dall-E generated images in MS Designer</vt:lpstr>
      <vt:lpstr>Azure OpenAI Service Pricing</vt:lpstr>
      <vt:lpstr>Azure AI Translator</vt:lpstr>
      <vt:lpstr>Azure Translator Service Pricing</vt:lpstr>
      <vt:lpstr>Azure Computer Vision service</vt:lpstr>
      <vt:lpstr>Azure Document Intelligence Service</vt:lpstr>
      <vt:lpstr>Irish Driving License</vt:lpstr>
      <vt:lpstr>Greek Driving License</vt:lpstr>
      <vt:lpstr>Azure Document Intelligence Pricing</vt:lpstr>
      <vt:lpstr>Azure Custom Vision Service</vt:lpstr>
      <vt:lpstr>Azure Custom Vision – Image Recognition with a pre-trained model</vt:lpstr>
      <vt:lpstr>Azure Custom Vision Pricing</vt:lpstr>
      <vt:lpstr>Key generative AI use cases across the Financial Services Industry</vt:lpstr>
      <vt:lpstr>Partner’s Solution Accelerators</vt:lpstr>
      <vt:lpstr>Azure AI</vt:lpstr>
      <vt:lpstr>The Microsoft Azure AI Portfolio </vt:lpstr>
      <vt:lpstr>Microsoft’s Principles of Responsible AI</vt:lpstr>
      <vt:lpstr>Towards a Microsoft Content Moderation Sui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Perov</dc:creator>
  <cp:lastModifiedBy>Peter Perov</cp:lastModifiedBy>
  <cp:revision>145</cp:revision>
  <dcterms:created xsi:type="dcterms:W3CDTF">2024-04-25T21:13:06Z</dcterms:created>
  <dcterms:modified xsi:type="dcterms:W3CDTF">2024-04-29T13:51:13Z</dcterms:modified>
</cp:coreProperties>
</file>